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60" r:id="rId4"/>
    <p:sldMasterId id="2147483686" r:id="rId5"/>
  </p:sldMasterIdLst>
  <p:notesMasterIdLst>
    <p:notesMasterId r:id="rId11"/>
  </p:notesMasterIdLst>
  <p:sldIdLst>
    <p:sldId id="401" r:id="rId6"/>
    <p:sldId id="400" r:id="rId7"/>
    <p:sldId id="378" r:id="rId8"/>
    <p:sldId id="402" r:id="rId9"/>
    <p:sldId id="257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DBA"/>
    <a:srgbClr val="3A78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3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se, Christopher *" userId="b6a88d7c-1c23-4ed7-b887-bff113c9a0a2" providerId="ADAL" clId="{8AECEA80-4DEE-40BE-B3F8-1CFDC06EB11C}"/>
    <pc:docChg chg="custSel modSld">
      <pc:chgData name="Sese, Christopher *" userId="b6a88d7c-1c23-4ed7-b887-bff113c9a0a2" providerId="ADAL" clId="{8AECEA80-4DEE-40BE-B3F8-1CFDC06EB11C}" dt="2024-07-21T17:41:54.472" v="5"/>
      <pc:docMkLst>
        <pc:docMk/>
      </pc:docMkLst>
      <pc:sldChg chg="addSp delSp modSp mod">
        <pc:chgData name="Sese, Christopher *" userId="b6a88d7c-1c23-4ed7-b887-bff113c9a0a2" providerId="ADAL" clId="{8AECEA80-4DEE-40BE-B3F8-1CFDC06EB11C}" dt="2024-07-21T17:41:50.279" v="2"/>
        <pc:sldMkLst>
          <pc:docMk/>
          <pc:sldMk cId="1328258531" sldId="378"/>
        </pc:sldMkLst>
        <pc:spChg chg="del">
          <ac:chgData name="Sese, Christopher *" userId="b6a88d7c-1c23-4ed7-b887-bff113c9a0a2" providerId="ADAL" clId="{8AECEA80-4DEE-40BE-B3F8-1CFDC06EB11C}" dt="2024-07-21T17:41:50.110" v="1" actId="478"/>
          <ac:spMkLst>
            <pc:docMk/>
            <pc:sldMk cId="1328258531" sldId="378"/>
            <ac:spMk id="5" creationId="{E8083100-C911-62B6-118B-53CDCBE29CD2}"/>
          </ac:spMkLst>
        </pc:spChg>
        <pc:spChg chg="add mod">
          <ac:chgData name="Sese, Christopher *" userId="b6a88d7c-1c23-4ed7-b887-bff113c9a0a2" providerId="ADAL" clId="{8AECEA80-4DEE-40BE-B3F8-1CFDC06EB11C}" dt="2024-07-21T17:41:50.279" v="2"/>
          <ac:spMkLst>
            <pc:docMk/>
            <pc:sldMk cId="1328258531" sldId="378"/>
            <ac:spMk id="9" creationId="{2990BA17-9025-F1F7-BCC1-25D114B13883}"/>
          </ac:spMkLst>
        </pc:spChg>
      </pc:sldChg>
      <pc:sldChg chg="modSp mod">
        <pc:chgData name="Sese, Christopher *" userId="b6a88d7c-1c23-4ed7-b887-bff113c9a0a2" providerId="ADAL" clId="{8AECEA80-4DEE-40BE-B3F8-1CFDC06EB11C}" dt="2024-07-21T17:41:44.435" v="0" actId="2711"/>
        <pc:sldMkLst>
          <pc:docMk/>
          <pc:sldMk cId="1374037093" sldId="401"/>
        </pc:sldMkLst>
        <pc:spChg chg="mod">
          <ac:chgData name="Sese, Christopher *" userId="b6a88d7c-1c23-4ed7-b887-bff113c9a0a2" providerId="ADAL" clId="{8AECEA80-4DEE-40BE-B3F8-1CFDC06EB11C}" dt="2024-07-21T17:41:44.435" v="0" actId="2711"/>
          <ac:spMkLst>
            <pc:docMk/>
            <pc:sldMk cId="1374037093" sldId="401"/>
            <ac:spMk id="5" creationId="{E8083100-C911-62B6-118B-53CDCBE29CD2}"/>
          </ac:spMkLst>
        </pc:spChg>
      </pc:sldChg>
      <pc:sldChg chg="addSp delSp modSp mod">
        <pc:chgData name="Sese, Christopher *" userId="b6a88d7c-1c23-4ed7-b887-bff113c9a0a2" providerId="ADAL" clId="{8AECEA80-4DEE-40BE-B3F8-1CFDC06EB11C}" dt="2024-07-21T17:41:54.472" v="5"/>
        <pc:sldMkLst>
          <pc:docMk/>
          <pc:sldMk cId="1626442528" sldId="402"/>
        </pc:sldMkLst>
        <pc:spChg chg="del mod">
          <ac:chgData name="Sese, Christopher *" userId="b6a88d7c-1c23-4ed7-b887-bff113c9a0a2" providerId="ADAL" clId="{8AECEA80-4DEE-40BE-B3F8-1CFDC06EB11C}" dt="2024-07-21T17:41:54.287" v="4" actId="478"/>
          <ac:spMkLst>
            <pc:docMk/>
            <pc:sldMk cId="1626442528" sldId="402"/>
            <ac:spMk id="5" creationId="{E8083100-C911-62B6-118B-53CDCBE29CD2}"/>
          </ac:spMkLst>
        </pc:spChg>
        <pc:spChg chg="add mod">
          <ac:chgData name="Sese, Christopher *" userId="b6a88d7c-1c23-4ed7-b887-bff113c9a0a2" providerId="ADAL" clId="{8AECEA80-4DEE-40BE-B3F8-1CFDC06EB11C}" dt="2024-07-21T17:41:54.472" v="5"/>
          <ac:spMkLst>
            <pc:docMk/>
            <pc:sldMk cId="1626442528" sldId="402"/>
            <ac:spMk id="7" creationId="{6FEA12F5-A1D7-EDE8-E2C4-7E2631458E12}"/>
          </ac:spMkLst>
        </pc:spChg>
      </pc:sldChg>
    </pc:docChg>
  </pc:docChgLst>
  <pc:docChgLst>
    <pc:chgData name="Villata, Danielle" userId="ebcab17d-2422-474f-a577-d48b83af1c48" providerId="ADAL" clId="{2AA8B228-BA5B-4AD8-882C-D03C0182844B}"/>
    <pc:docChg chg="custSel modSld">
      <pc:chgData name="Villata, Danielle" userId="ebcab17d-2422-474f-a577-d48b83af1c48" providerId="ADAL" clId="{2AA8B228-BA5B-4AD8-882C-D03C0182844B}" dt="2024-07-31T15:27:20.782" v="5" actId="478"/>
      <pc:docMkLst>
        <pc:docMk/>
      </pc:docMkLst>
      <pc:sldChg chg="delSp mod">
        <pc:chgData name="Villata, Danielle" userId="ebcab17d-2422-474f-a577-d48b83af1c48" providerId="ADAL" clId="{2AA8B228-BA5B-4AD8-882C-D03C0182844B}" dt="2024-07-31T15:27:16.271" v="3" actId="478"/>
        <pc:sldMkLst>
          <pc:docMk/>
          <pc:sldMk cId="1328258531" sldId="378"/>
        </pc:sldMkLst>
        <pc:spChg chg="del">
          <ac:chgData name="Villata, Danielle" userId="ebcab17d-2422-474f-a577-d48b83af1c48" providerId="ADAL" clId="{2AA8B228-BA5B-4AD8-882C-D03C0182844B}" dt="2024-07-31T15:27:16.271" v="3" actId="478"/>
          <ac:spMkLst>
            <pc:docMk/>
            <pc:sldMk cId="1328258531" sldId="378"/>
            <ac:spMk id="7" creationId="{54BC2266-2F99-6569-46E2-5845A52B099A}"/>
          </ac:spMkLst>
        </pc:spChg>
        <pc:picChg chg="del">
          <ac:chgData name="Villata, Danielle" userId="ebcab17d-2422-474f-a577-d48b83af1c48" providerId="ADAL" clId="{2AA8B228-BA5B-4AD8-882C-D03C0182844B}" dt="2024-07-31T15:27:14.287" v="2" actId="478"/>
          <ac:picMkLst>
            <pc:docMk/>
            <pc:sldMk cId="1328258531" sldId="378"/>
            <ac:picMk id="4" creationId="{1B05BC71-A067-9D3C-0D4A-AC5EB3DB07CB}"/>
          </ac:picMkLst>
        </pc:picChg>
      </pc:sldChg>
      <pc:sldChg chg="delSp mod">
        <pc:chgData name="Villata, Danielle" userId="ebcab17d-2422-474f-a577-d48b83af1c48" providerId="ADAL" clId="{2AA8B228-BA5B-4AD8-882C-D03C0182844B}" dt="2024-07-31T15:27:10.159" v="1" actId="478"/>
        <pc:sldMkLst>
          <pc:docMk/>
          <pc:sldMk cId="1374037093" sldId="401"/>
        </pc:sldMkLst>
        <pc:spChg chg="del">
          <ac:chgData name="Villata, Danielle" userId="ebcab17d-2422-474f-a577-d48b83af1c48" providerId="ADAL" clId="{2AA8B228-BA5B-4AD8-882C-D03C0182844B}" dt="2024-07-31T15:27:10.159" v="1" actId="478"/>
          <ac:spMkLst>
            <pc:docMk/>
            <pc:sldMk cId="1374037093" sldId="401"/>
            <ac:spMk id="7" creationId="{BB570082-B76A-9516-8B23-644D34CBAD6E}"/>
          </ac:spMkLst>
        </pc:spChg>
        <pc:picChg chg="del">
          <ac:chgData name="Villata, Danielle" userId="ebcab17d-2422-474f-a577-d48b83af1c48" providerId="ADAL" clId="{2AA8B228-BA5B-4AD8-882C-D03C0182844B}" dt="2024-07-31T15:27:07.839" v="0" actId="478"/>
          <ac:picMkLst>
            <pc:docMk/>
            <pc:sldMk cId="1374037093" sldId="401"/>
            <ac:picMk id="4" creationId="{1B05BC71-A067-9D3C-0D4A-AC5EB3DB07CB}"/>
          </ac:picMkLst>
        </pc:picChg>
      </pc:sldChg>
      <pc:sldChg chg="delSp mod">
        <pc:chgData name="Villata, Danielle" userId="ebcab17d-2422-474f-a577-d48b83af1c48" providerId="ADAL" clId="{2AA8B228-BA5B-4AD8-882C-D03C0182844B}" dt="2024-07-31T15:27:20.782" v="5" actId="478"/>
        <pc:sldMkLst>
          <pc:docMk/>
          <pc:sldMk cId="1626442528" sldId="402"/>
        </pc:sldMkLst>
        <pc:spChg chg="del">
          <ac:chgData name="Villata, Danielle" userId="ebcab17d-2422-474f-a577-d48b83af1c48" providerId="ADAL" clId="{2AA8B228-BA5B-4AD8-882C-D03C0182844B}" dt="2024-07-31T15:27:20.782" v="5" actId="478"/>
          <ac:spMkLst>
            <pc:docMk/>
            <pc:sldMk cId="1626442528" sldId="402"/>
            <ac:spMk id="8" creationId="{69940827-0486-5321-FFE7-4842E6BB5776}"/>
          </ac:spMkLst>
        </pc:spChg>
        <pc:picChg chg="del">
          <ac:chgData name="Villata, Danielle" userId="ebcab17d-2422-474f-a577-d48b83af1c48" providerId="ADAL" clId="{2AA8B228-BA5B-4AD8-882C-D03C0182844B}" dt="2024-07-31T15:27:19.090" v="4" actId="478"/>
          <ac:picMkLst>
            <pc:docMk/>
            <pc:sldMk cId="1626442528" sldId="402"/>
            <ac:picMk id="4" creationId="{1B05BC71-A067-9D3C-0D4A-AC5EB3DB07CB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EC8150-9B3E-47A4-9FB0-70AB11A463EC}" type="doc">
      <dgm:prSet loTypeId="urn:microsoft.com/office/officeart/2005/8/layout/pyramid3" loCatId="pyramid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en-US"/>
        </a:p>
      </dgm:t>
    </dgm:pt>
    <dgm:pt modelId="{DE3FA39A-CB9E-4CDA-A6DB-76F091B763B3}">
      <dgm:prSet phldrT="[Text]" custT="1"/>
      <dgm:spPr>
        <a:ln>
          <a:solidFill>
            <a:schemeClr val="accent3"/>
          </a:solidFill>
        </a:ln>
      </dgm:spPr>
      <dgm:t>
        <a:bodyPr/>
        <a:lstStyle/>
        <a:p>
          <a:r>
            <a:rPr lang="en-US" sz="900">
              <a:solidFill>
                <a:schemeClr val="bg1"/>
              </a:solidFill>
            </a:rPr>
            <a:t>More efficient Development</a:t>
          </a:r>
          <a:endParaRPr lang="en-US" sz="900" dirty="0">
            <a:solidFill>
              <a:schemeClr val="bg1"/>
            </a:solidFill>
          </a:endParaRPr>
        </a:p>
      </dgm:t>
    </dgm:pt>
    <dgm:pt modelId="{B46E53FB-D9CE-4CF4-9487-B73D86DBC977}" type="parTrans" cxnId="{BDA26317-7FD8-474E-B055-536B9B98CBDC}">
      <dgm:prSet/>
      <dgm:spPr/>
      <dgm:t>
        <a:bodyPr/>
        <a:lstStyle/>
        <a:p>
          <a:endParaRPr lang="en-US"/>
        </a:p>
      </dgm:t>
    </dgm:pt>
    <dgm:pt modelId="{56B6A934-6CF4-4D6F-8CF9-B0824A1F98E4}" type="sibTrans" cxnId="{BDA26317-7FD8-474E-B055-536B9B98CBDC}">
      <dgm:prSet/>
      <dgm:spPr/>
      <dgm:t>
        <a:bodyPr/>
        <a:lstStyle/>
        <a:p>
          <a:endParaRPr lang="en-US"/>
        </a:p>
      </dgm:t>
    </dgm:pt>
    <dgm:pt modelId="{62A1551A-7D49-45B8-B754-87DB7936A7A4}">
      <dgm:prSet phldrT="[Text]" custT="1"/>
      <dgm:spPr/>
      <dgm:t>
        <a:bodyPr/>
        <a:lstStyle/>
        <a:p>
          <a:r>
            <a:rPr lang="en-US" sz="900">
              <a:solidFill>
                <a:schemeClr val="bg1"/>
              </a:solidFill>
            </a:rPr>
            <a:t>More efficient meetings</a:t>
          </a:r>
          <a:endParaRPr lang="en-US" sz="900" dirty="0">
            <a:solidFill>
              <a:schemeClr val="bg1"/>
            </a:solidFill>
          </a:endParaRPr>
        </a:p>
      </dgm:t>
    </dgm:pt>
    <dgm:pt modelId="{A0CBB917-DB72-417F-8EF4-D60FFBDE9E95}" type="parTrans" cxnId="{669315FD-A2AF-4F37-8ED5-7EC73D99D1AB}">
      <dgm:prSet/>
      <dgm:spPr/>
      <dgm:t>
        <a:bodyPr/>
        <a:lstStyle/>
        <a:p>
          <a:endParaRPr lang="en-US"/>
        </a:p>
      </dgm:t>
    </dgm:pt>
    <dgm:pt modelId="{132233F0-5200-4880-B355-70533C9030C8}" type="sibTrans" cxnId="{669315FD-A2AF-4F37-8ED5-7EC73D99D1AB}">
      <dgm:prSet/>
      <dgm:spPr/>
      <dgm:t>
        <a:bodyPr/>
        <a:lstStyle/>
        <a:p>
          <a:endParaRPr lang="en-US"/>
        </a:p>
      </dgm:t>
    </dgm:pt>
    <dgm:pt modelId="{C5755992-B20B-4671-A185-E7F1FE242B3A}">
      <dgm:prSet phldrT="[Text]" custT="1"/>
      <dgm:spPr/>
      <dgm:t>
        <a:bodyPr/>
        <a:lstStyle/>
        <a:p>
          <a:r>
            <a:rPr lang="en-US" sz="900">
              <a:solidFill>
                <a:schemeClr val="bg1"/>
              </a:solidFill>
            </a:rPr>
            <a:t>More efficient meetings</a:t>
          </a:r>
          <a:endParaRPr lang="en-US" sz="900" dirty="0">
            <a:solidFill>
              <a:schemeClr val="bg1"/>
            </a:solidFill>
          </a:endParaRPr>
        </a:p>
      </dgm:t>
    </dgm:pt>
    <dgm:pt modelId="{EAC88E19-7E6B-4E02-9A5F-E7978A275A32}" type="parTrans" cxnId="{856A09F9-5474-48AE-B31B-07EC5163DA56}">
      <dgm:prSet/>
      <dgm:spPr/>
      <dgm:t>
        <a:bodyPr/>
        <a:lstStyle/>
        <a:p>
          <a:endParaRPr lang="en-US"/>
        </a:p>
      </dgm:t>
    </dgm:pt>
    <dgm:pt modelId="{9F256443-F7E0-47A8-8E13-3AC64D427963}" type="sibTrans" cxnId="{856A09F9-5474-48AE-B31B-07EC5163DA56}">
      <dgm:prSet/>
      <dgm:spPr/>
      <dgm:t>
        <a:bodyPr/>
        <a:lstStyle/>
        <a:p>
          <a:endParaRPr lang="en-US"/>
        </a:p>
      </dgm:t>
    </dgm:pt>
    <dgm:pt modelId="{0A76A789-FE39-4D1E-B8B0-B9559DCD8D85}">
      <dgm:prSet custT="1"/>
      <dgm:spPr/>
      <dgm:t>
        <a:bodyPr/>
        <a:lstStyle/>
        <a:p>
          <a:r>
            <a:rPr lang="en-US" sz="850">
              <a:solidFill>
                <a:schemeClr val="bg1"/>
              </a:solidFill>
            </a:rPr>
            <a:t>More efficient Development</a:t>
          </a:r>
          <a:endParaRPr lang="en-US" sz="850" dirty="0">
            <a:solidFill>
              <a:schemeClr val="bg1"/>
            </a:solidFill>
          </a:endParaRPr>
        </a:p>
      </dgm:t>
    </dgm:pt>
    <dgm:pt modelId="{35DE2855-0963-49A2-9713-60F20C334371}" type="parTrans" cxnId="{1C30B056-9337-4CCF-81BD-67B479A5BBC9}">
      <dgm:prSet/>
      <dgm:spPr/>
      <dgm:t>
        <a:bodyPr/>
        <a:lstStyle/>
        <a:p>
          <a:endParaRPr lang="en-US"/>
        </a:p>
      </dgm:t>
    </dgm:pt>
    <dgm:pt modelId="{4F668316-5865-4D9F-A2F9-C121F383C92A}" type="sibTrans" cxnId="{1C30B056-9337-4CCF-81BD-67B479A5BBC9}">
      <dgm:prSet/>
      <dgm:spPr/>
      <dgm:t>
        <a:bodyPr/>
        <a:lstStyle/>
        <a:p>
          <a:endParaRPr lang="en-US"/>
        </a:p>
      </dgm:t>
    </dgm:pt>
    <dgm:pt modelId="{65C3D3EA-C636-4750-B371-1ACDDD3B3D58}">
      <dgm:prSet custT="1"/>
      <dgm:spPr/>
      <dgm:t>
        <a:bodyPr/>
        <a:lstStyle/>
        <a:p>
          <a:r>
            <a:rPr lang="en-US" sz="900">
              <a:solidFill>
                <a:schemeClr val="bg1"/>
              </a:solidFill>
            </a:rPr>
            <a:t>Take CMC Off Critical Path</a:t>
          </a:r>
          <a:endParaRPr lang="en-US" sz="900" dirty="0">
            <a:solidFill>
              <a:schemeClr val="bg1"/>
            </a:solidFill>
          </a:endParaRPr>
        </a:p>
      </dgm:t>
    </dgm:pt>
    <dgm:pt modelId="{32C41D89-960D-4261-8E1A-C4989A1AF318}" type="parTrans" cxnId="{ADFD0A3A-779A-4F91-B604-A1C31FBAEEE6}">
      <dgm:prSet/>
      <dgm:spPr/>
      <dgm:t>
        <a:bodyPr/>
        <a:lstStyle/>
        <a:p>
          <a:endParaRPr lang="en-US"/>
        </a:p>
      </dgm:t>
    </dgm:pt>
    <dgm:pt modelId="{900CCA9B-179A-4AEC-AFCF-BCCA9A3E831E}" type="sibTrans" cxnId="{ADFD0A3A-779A-4F91-B604-A1C31FBAEEE6}">
      <dgm:prSet/>
      <dgm:spPr/>
      <dgm:t>
        <a:bodyPr/>
        <a:lstStyle/>
        <a:p>
          <a:endParaRPr lang="en-US"/>
        </a:p>
      </dgm:t>
    </dgm:pt>
    <dgm:pt modelId="{D29FF7CD-4880-4B87-A72C-2B84EE6EBF28}">
      <dgm:prSet custT="1"/>
      <dgm:spPr/>
      <dgm:t>
        <a:bodyPr/>
        <a:lstStyle/>
        <a:p>
          <a:r>
            <a:rPr lang="en-US" sz="800">
              <a:solidFill>
                <a:schemeClr val="bg1"/>
              </a:solidFill>
            </a:rPr>
            <a:t>Meetings scheduled faster</a:t>
          </a:r>
          <a:endParaRPr lang="en-US" sz="800" dirty="0">
            <a:solidFill>
              <a:schemeClr val="bg1"/>
            </a:solidFill>
          </a:endParaRPr>
        </a:p>
      </dgm:t>
    </dgm:pt>
    <dgm:pt modelId="{5F841D26-9728-48A2-B4DD-C59B10A22CEA}" type="parTrans" cxnId="{CFCCD471-0B09-41F1-993C-DE697E3DF212}">
      <dgm:prSet/>
      <dgm:spPr/>
      <dgm:t>
        <a:bodyPr/>
        <a:lstStyle/>
        <a:p>
          <a:endParaRPr lang="en-US"/>
        </a:p>
      </dgm:t>
    </dgm:pt>
    <dgm:pt modelId="{9CBC5978-0669-43D4-89FC-E413DAE0C12A}" type="sibTrans" cxnId="{CFCCD471-0B09-41F1-993C-DE697E3DF212}">
      <dgm:prSet/>
      <dgm:spPr/>
      <dgm:t>
        <a:bodyPr/>
        <a:lstStyle/>
        <a:p>
          <a:endParaRPr lang="en-US"/>
        </a:p>
      </dgm:t>
    </dgm:pt>
    <dgm:pt modelId="{6A449ABC-CED3-47A9-B668-833DC6B23BBB}">
      <dgm:prSet custT="1"/>
      <dgm:spPr/>
      <dgm:t>
        <a:bodyPr/>
        <a:lstStyle/>
        <a:p>
          <a:r>
            <a:rPr lang="en-US" sz="800" dirty="0">
              <a:solidFill>
                <a:schemeClr val="bg1"/>
              </a:solidFill>
            </a:rPr>
            <a:t>Faster pace</a:t>
          </a:r>
        </a:p>
      </dgm:t>
    </dgm:pt>
    <dgm:pt modelId="{72350B9B-6F03-4E2F-A553-487A478B690F}" type="parTrans" cxnId="{34B1242E-0064-4338-8829-8440ECAAA18C}">
      <dgm:prSet/>
      <dgm:spPr/>
      <dgm:t>
        <a:bodyPr/>
        <a:lstStyle/>
        <a:p>
          <a:endParaRPr lang="en-US"/>
        </a:p>
      </dgm:t>
    </dgm:pt>
    <dgm:pt modelId="{C9E6EAAB-A397-4A0A-A9E8-8C3214A3B843}" type="sibTrans" cxnId="{34B1242E-0064-4338-8829-8440ECAAA18C}">
      <dgm:prSet/>
      <dgm:spPr/>
      <dgm:t>
        <a:bodyPr/>
        <a:lstStyle/>
        <a:p>
          <a:endParaRPr lang="en-US"/>
        </a:p>
      </dgm:t>
    </dgm:pt>
    <dgm:pt modelId="{B10B4D93-52A7-4A28-A2FC-7E4E730D5415}">
      <dgm:prSet custT="1"/>
      <dgm:spPr/>
      <dgm:t>
        <a:bodyPr/>
        <a:lstStyle/>
        <a:p>
          <a:r>
            <a:rPr lang="en-US" sz="750">
              <a:solidFill>
                <a:schemeClr val="bg1"/>
              </a:solidFill>
            </a:rPr>
            <a:t>Faster review</a:t>
          </a:r>
          <a:endParaRPr lang="en-US" sz="750" dirty="0">
            <a:solidFill>
              <a:schemeClr val="bg1"/>
            </a:solidFill>
          </a:endParaRPr>
        </a:p>
      </dgm:t>
    </dgm:pt>
    <dgm:pt modelId="{C02A6A63-DFBC-425B-B178-701E9FA20376}" type="parTrans" cxnId="{D2D853A2-D2A8-45B3-B142-B26DEC1EB3C4}">
      <dgm:prSet/>
      <dgm:spPr/>
      <dgm:t>
        <a:bodyPr/>
        <a:lstStyle/>
        <a:p>
          <a:endParaRPr lang="en-US"/>
        </a:p>
      </dgm:t>
    </dgm:pt>
    <dgm:pt modelId="{B25EA436-C985-415A-B97A-D099BAD2488C}" type="sibTrans" cxnId="{D2D853A2-D2A8-45B3-B142-B26DEC1EB3C4}">
      <dgm:prSet/>
      <dgm:spPr/>
      <dgm:t>
        <a:bodyPr/>
        <a:lstStyle/>
        <a:p>
          <a:endParaRPr lang="en-US"/>
        </a:p>
      </dgm:t>
    </dgm:pt>
    <dgm:pt modelId="{A5076A5B-0707-4B8A-8E2E-969E7EDD60A9}">
      <dgm:prSet custT="1"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2CA1F732-F21F-4353-93B4-7058E4FAFBAB}" type="parTrans" cxnId="{931A3E1B-F898-44FB-B026-56C4EFA0D301}">
      <dgm:prSet/>
      <dgm:spPr/>
      <dgm:t>
        <a:bodyPr/>
        <a:lstStyle/>
        <a:p>
          <a:endParaRPr lang="en-US"/>
        </a:p>
      </dgm:t>
    </dgm:pt>
    <dgm:pt modelId="{94B55366-30C5-4430-9AB9-917D0005D578}" type="sibTrans" cxnId="{931A3E1B-F898-44FB-B026-56C4EFA0D301}">
      <dgm:prSet/>
      <dgm:spPr/>
      <dgm:t>
        <a:bodyPr/>
        <a:lstStyle/>
        <a:p>
          <a:endParaRPr lang="en-US"/>
        </a:p>
      </dgm:t>
    </dgm:pt>
    <dgm:pt modelId="{979DE566-2F09-4732-9D3B-09B2E40B5146}">
      <dgm:prSet/>
      <dgm:spPr/>
      <dgm:t>
        <a:bodyPr/>
        <a:lstStyle/>
        <a:p>
          <a:endParaRPr lang="en-US"/>
        </a:p>
      </dgm:t>
    </dgm:pt>
    <dgm:pt modelId="{D48CF5DC-9930-4FB7-B5CD-F8013FB71B99}" type="parTrans" cxnId="{651BC872-6568-4722-8936-468C91938CC4}">
      <dgm:prSet/>
      <dgm:spPr/>
      <dgm:t>
        <a:bodyPr/>
        <a:lstStyle/>
        <a:p>
          <a:endParaRPr lang="en-US"/>
        </a:p>
      </dgm:t>
    </dgm:pt>
    <dgm:pt modelId="{727958E8-4A0A-4CB5-A732-D80DCC5776EC}" type="sibTrans" cxnId="{651BC872-6568-4722-8936-468C91938CC4}">
      <dgm:prSet/>
      <dgm:spPr/>
      <dgm:t>
        <a:bodyPr/>
        <a:lstStyle/>
        <a:p>
          <a:endParaRPr lang="en-US"/>
        </a:p>
      </dgm:t>
    </dgm:pt>
    <dgm:pt modelId="{8A8F4182-DBD6-4EC3-B214-F59DA6DBFB9B}" type="pres">
      <dgm:prSet presAssocID="{4BEC8150-9B3E-47A4-9FB0-70AB11A463EC}" presName="Name0" presStyleCnt="0">
        <dgm:presLayoutVars>
          <dgm:dir/>
          <dgm:animLvl val="lvl"/>
          <dgm:resizeHandles val="exact"/>
        </dgm:presLayoutVars>
      </dgm:prSet>
      <dgm:spPr/>
    </dgm:pt>
    <dgm:pt modelId="{94A59C03-1E89-4C64-8136-D5AB9DB06985}" type="pres">
      <dgm:prSet presAssocID="{DE3FA39A-CB9E-4CDA-A6DB-76F091B763B3}" presName="Name8" presStyleCnt="0"/>
      <dgm:spPr/>
    </dgm:pt>
    <dgm:pt modelId="{74A62A1B-EC9E-4D53-AE75-E895236BC769}" type="pres">
      <dgm:prSet presAssocID="{DE3FA39A-CB9E-4CDA-A6DB-76F091B763B3}" presName="level" presStyleLbl="node1" presStyleIdx="0" presStyleCnt="10" custLinFactNeighborY="-2740">
        <dgm:presLayoutVars>
          <dgm:chMax val="1"/>
          <dgm:bulletEnabled val="1"/>
        </dgm:presLayoutVars>
      </dgm:prSet>
      <dgm:spPr/>
    </dgm:pt>
    <dgm:pt modelId="{8187E74D-14F8-4834-BF00-37F92DFBD292}" type="pres">
      <dgm:prSet presAssocID="{DE3FA39A-CB9E-4CDA-A6DB-76F091B763B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F55B9C8-1DB2-482D-93D2-DC553B4B0702}" type="pres">
      <dgm:prSet presAssocID="{62A1551A-7D49-45B8-B754-87DB7936A7A4}" presName="Name8" presStyleCnt="0"/>
      <dgm:spPr/>
    </dgm:pt>
    <dgm:pt modelId="{21154752-D45E-44FF-A9CE-3E3A71D95E15}" type="pres">
      <dgm:prSet presAssocID="{62A1551A-7D49-45B8-B754-87DB7936A7A4}" presName="level" presStyleLbl="node1" presStyleIdx="1" presStyleCnt="10">
        <dgm:presLayoutVars>
          <dgm:chMax val="1"/>
          <dgm:bulletEnabled val="1"/>
        </dgm:presLayoutVars>
      </dgm:prSet>
      <dgm:spPr/>
    </dgm:pt>
    <dgm:pt modelId="{5B5A2ADE-9E3D-4F06-A3DD-CBAB16E73996}" type="pres">
      <dgm:prSet presAssocID="{62A1551A-7D49-45B8-B754-87DB7936A7A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1DF61A4-190F-48FE-A294-34B2C574FA6A}" type="pres">
      <dgm:prSet presAssocID="{C5755992-B20B-4671-A185-E7F1FE242B3A}" presName="Name8" presStyleCnt="0"/>
      <dgm:spPr/>
    </dgm:pt>
    <dgm:pt modelId="{58166823-ED47-4033-8077-B9033902F4BA}" type="pres">
      <dgm:prSet presAssocID="{C5755992-B20B-4671-A185-E7F1FE242B3A}" presName="level" presStyleLbl="node1" presStyleIdx="2" presStyleCnt="10">
        <dgm:presLayoutVars>
          <dgm:chMax val="1"/>
          <dgm:bulletEnabled val="1"/>
        </dgm:presLayoutVars>
      </dgm:prSet>
      <dgm:spPr/>
    </dgm:pt>
    <dgm:pt modelId="{D8479E29-11DB-4FEB-A9C9-EE59CC6F6B34}" type="pres">
      <dgm:prSet presAssocID="{C5755992-B20B-4671-A185-E7F1FE242B3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D24652E-A629-4EC3-AC8B-B82DA3F08752}" type="pres">
      <dgm:prSet presAssocID="{0A76A789-FE39-4D1E-B8B0-B9559DCD8D85}" presName="Name8" presStyleCnt="0"/>
      <dgm:spPr/>
    </dgm:pt>
    <dgm:pt modelId="{49969F44-27C8-4C0D-AE71-DEF3B238BA0B}" type="pres">
      <dgm:prSet presAssocID="{0A76A789-FE39-4D1E-B8B0-B9559DCD8D85}" presName="level" presStyleLbl="node1" presStyleIdx="3" presStyleCnt="10">
        <dgm:presLayoutVars>
          <dgm:chMax val="1"/>
          <dgm:bulletEnabled val="1"/>
        </dgm:presLayoutVars>
      </dgm:prSet>
      <dgm:spPr/>
    </dgm:pt>
    <dgm:pt modelId="{826E77B2-31AE-40E8-B21C-775A528A1E67}" type="pres">
      <dgm:prSet presAssocID="{0A76A789-FE39-4D1E-B8B0-B9559DCD8D8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C9153F8-39EA-4784-8A9A-63AAEB4927EC}" type="pres">
      <dgm:prSet presAssocID="{65C3D3EA-C636-4750-B371-1ACDDD3B3D58}" presName="Name8" presStyleCnt="0"/>
      <dgm:spPr/>
    </dgm:pt>
    <dgm:pt modelId="{D079CC19-7DFE-452E-AA84-0BF759FEEC7F}" type="pres">
      <dgm:prSet presAssocID="{65C3D3EA-C636-4750-B371-1ACDDD3B3D58}" presName="level" presStyleLbl="node1" presStyleIdx="4" presStyleCnt="10">
        <dgm:presLayoutVars>
          <dgm:chMax val="1"/>
          <dgm:bulletEnabled val="1"/>
        </dgm:presLayoutVars>
      </dgm:prSet>
      <dgm:spPr/>
    </dgm:pt>
    <dgm:pt modelId="{9BB3109D-7A2F-4140-A2AA-76173899D3E6}" type="pres">
      <dgm:prSet presAssocID="{65C3D3EA-C636-4750-B371-1ACDDD3B3D5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AF307F1-5783-4A75-A8D5-CB9F95876CE4}" type="pres">
      <dgm:prSet presAssocID="{D29FF7CD-4880-4B87-A72C-2B84EE6EBF28}" presName="Name8" presStyleCnt="0"/>
      <dgm:spPr/>
    </dgm:pt>
    <dgm:pt modelId="{FE86B830-BCC9-405B-BB49-2A3951FC330B}" type="pres">
      <dgm:prSet presAssocID="{D29FF7CD-4880-4B87-A72C-2B84EE6EBF28}" presName="level" presStyleLbl="node1" presStyleIdx="5" presStyleCnt="10">
        <dgm:presLayoutVars>
          <dgm:chMax val="1"/>
          <dgm:bulletEnabled val="1"/>
        </dgm:presLayoutVars>
      </dgm:prSet>
      <dgm:spPr/>
    </dgm:pt>
    <dgm:pt modelId="{56815F07-6F80-4833-8E66-35FFFF4A076C}" type="pres">
      <dgm:prSet presAssocID="{D29FF7CD-4880-4B87-A72C-2B84EE6EBF2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52EBB92-D92D-4E75-8FAD-069C348BB197}" type="pres">
      <dgm:prSet presAssocID="{6A449ABC-CED3-47A9-B668-833DC6B23BBB}" presName="Name8" presStyleCnt="0"/>
      <dgm:spPr/>
    </dgm:pt>
    <dgm:pt modelId="{346AF249-1A6B-4BE7-A743-814A7E77930B}" type="pres">
      <dgm:prSet presAssocID="{6A449ABC-CED3-47A9-B668-833DC6B23BBB}" presName="level" presStyleLbl="node1" presStyleIdx="6" presStyleCnt="10">
        <dgm:presLayoutVars>
          <dgm:chMax val="1"/>
          <dgm:bulletEnabled val="1"/>
        </dgm:presLayoutVars>
      </dgm:prSet>
      <dgm:spPr/>
    </dgm:pt>
    <dgm:pt modelId="{DE88B224-E860-4CF7-930C-67BA12B4A6AC}" type="pres">
      <dgm:prSet presAssocID="{6A449ABC-CED3-47A9-B668-833DC6B23BB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487FA5F-2680-4C02-A45A-4B213754FD9B}" type="pres">
      <dgm:prSet presAssocID="{B10B4D93-52A7-4A28-A2FC-7E4E730D5415}" presName="Name8" presStyleCnt="0"/>
      <dgm:spPr/>
    </dgm:pt>
    <dgm:pt modelId="{9F720979-F27D-4847-BA5A-F26E35EB70B9}" type="pres">
      <dgm:prSet presAssocID="{B10B4D93-52A7-4A28-A2FC-7E4E730D5415}" presName="level" presStyleLbl="node1" presStyleIdx="7" presStyleCnt="10">
        <dgm:presLayoutVars>
          <dgm:chMax val="1"/>
          <dgm:bulletEnabled val="1"/>
        </dgm:presLayoutVars>
      </dgm:prSet>
      <dgm:spPr/>
    </dgm:pt>
    <dgm:pt modelId="{9D853A64-CF4B-4D54-811A-0D1D963D3C77}" type="pres">
      <dgm:prSet presAssocID="{B10B4D93-52A7-4A28-A2FC-7E4E730D541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D3E8450-5CA0-4F88-97EB-9A9D78D5AF87}" type="pres">
      <dgm:prSet presAssocID="{A5076A5B-0707-4B8A-8E2E-969E7EDD60A9}" presName="Name8" presStyleCnt="0"/>
      <dgm:spPr/>
    </dgm:pt>
    <dgm:pt modelId="{369C718A-F771-43F0-8C1D-24F705BB8243}" type="pres">
      <dgm:prSet presAssocID="{A5076A5B-0707-4B8A-8E2E-969E7EDD60A9}" presName="level" presStyleLbl="node1" presStyleIdx="8" presStyleCnt="10">
        <dgm:presLayoutVars>
          <dgm:chMax val="1"/>
          <dgm:bulletEnabled val="1"/>
        </dgm:presLayoutVars>
      </dgm:prSet>
      <dgm:spPr/>
    </dgm:pt>
    <dgm:pt modelId="{72320267-E8B3-4742-AF2E-0A6AED7F7813}" type="pres">
      <dgm:prSet presAssocID="{A5076A5B-0707-4B8A-8E2E-969E7EDD60A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E57149A-7705-496C-A1B5-F023D5710179}" type="pres">
      <dgm:prSet presAssocID="{979DE566-2F09-4732-9D3B-09B2E40B5146}" presName="Name8" presStyleCnt="0"/>
      <dgm:spPr/>
    </dgm:pt>
    <dgm:pt modelId="{CA62244B-4AAF-4DA3-8BDD-3761F110C01B}" type="pres">
      <dgm:prSet presAssocID="{979DE566-2F09-4732-9D3B-09B2E40B5146}" presName="level" presStyleLbl="node1" presStyleIdx="9" presStyleCnt="10">
        <dgm:presLayoutVars>
          <dgm:chMax val="1"/>
          <dgm:bulletEnabled val="1"/>
        </dgm:presLayoutVars>
      </dgm:prSet>
      <dgm:spPr/>
    </dgm:pt>
    <dgm:pt modelId="{C8397219-9C46-43E6-BB34-C75B083A5E0B}" type="pres">
      <dgm:prSet presAssocID="{979DE566-2F09-4732-9D3B-09B2E40B5146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76459D0D-AADB-43C6-9C7A-E1B771193B84}" type="presOf" srcId="{65C3D3EA-C636-4750-B371-1ACDDD3B3D58}" destId="{9BB3109D-7A2F-4140-A2AA-76173899D3E6}" srcOrd="1" destOrd="0" presId="urn:microsoft.com/office/officeart/2005/8/layout/pyramid3"/>
    <dgm:cxn modelId="{BDA26317-7FD8-474E-B055-536B9B98CBDC}" srcId="{4BEC8150-9B3E-47A4-9FB0-70AB11A463EC}" destId="{DE3FA39A-CB9E-4CDA-A6DB-76F091B763B3}" srcOrd="0" destOrd="0" parTransId="{B46E53FB-D9CE-4CF4-9487-B73D86DBC977}" sibTransId="{56B6A934-6CF4-4D6F-8CF9-B0824A1F98E4}"/>
    <dgm:cxn modelId="{931A3E1B-F898-44FB-B026-56C4EFA0D301}" srcId="{4BEC8150-9B3E-47A4-9FB0-70AB11A463EC}" destId="{A5076A5B-0707-4B8A-8E2E-969E7EDD60A9}" srcOrd="8" destOrd="0" parTransId="{2CA1F732-F21F-4353-93B4-7058E4FAFBAB}" sibTransId="{94B55366-30C5-4430-9AB9-917D0005D578}"/>
    <dgm:cxn modelId="{2F0D861D-E8F4-4B57-98BE-DBF01FBDD9B3}" type="presOf" srcId="{A5076A5B-0707-4B8A-8E2E-969E7EDD60A9}" destId="{369C718A-F771-43F0-8C1D-24F705BB8243}" srcOrd="0" destOrd="0" presId="urn:microsoft.com/office/officeart/2005/8/layout/pyramid3"/>
    <dgm:cxn modelId="{34B1242E-0064-4338-8829-8440ECAAA18C}" srcId="{4BEC8150-9B3E-47A4-9FB0-70AB11A463EC}" destId="{6A449ABC-CED3-47A9-B668-833DC6B23BBB}" srcOrd="6" destOrd="0" parTransId="{72350B9B-6F03-4E2F-A553-487A478B690F}" sibTransId="{C9E6EAAB-A397-4A0A-A9E8-8C3214A3B843}"/>
    <dgm:cxn modelId="{28202A34-DA04-4CC5-B030-5189DAC349E5}" type="presOf" srcId="{979DE566-2F09-4732-9D3B-09B2E40B5146}" destId="{CA62244B-4AAF-4DA3-8BDD-3761F110C01B}" srcOrd="0" destOrd="0" presId="urn:microsoft.com/office/officeart/2005/8/layout/pyramid3"/>
    <dgm:cxn modelId="{8B0F3B36-F551-4CE3-8B27-9420286AD9B9}" type="presOf" srcId="{62A1551A-7D49-45B8-B754-87DB7936A7A4}" destId="{21154752-D45E-44FF-A9CE-3E3A71D95E15}" srcOrd="0" destOrd="0" presId="urn:microsoft.com/office/officeart/2005/8/layout/pyramid3"/>
    <dgm:cxn modelId="{ADFD0A3A-779A-4F91-B604-A1C31FBAEEE6}" srcId="{4BEC8150-9B3E-47A4-9FB0-70AB11A463EC}" destId="{65C3D3EA-C636-4750-B371-1ACDDD3B3D58}" srcOrd="4" destOrd="0" parTransId="{32C41D89-960D-4261-8E1A-C4989A1AF318}" sibTransId="{900CCA9B-179A-4AEC-AFCF-BCCA9A3E831E}"/>
    <dgm:cxn modelId="{70915F3C-716B-4CEE-A3E4-B51D23A35A09}" type="presOf" srcId="{C5755992-B20B-4671-A185-E7F1FE242B3A}" destId="{58166823-ED47-4033-8077-B9033902F4BA}" srcOrd="0" destOrd="0" presId="urn:microsoft.com/office/officeart/2005/8/layout/pyramid3"/>
    <dgm:cxn modelId="{8BF6FF40-7ACB-4E6D-9E9A-E1CEB26AC29E}" type="presOf" srcId="{4BEC8150-9B3E-47A4-9FB0-70AB11A463EC}" destId="{8A8F4182-DBD6-4EC3-B214-F59DA6DBFB9B}" srcOrd="0" destOrd="0" presId="urn:microsoft.com/office/officeart/2005/8/layout/pyramid3"/>
    <dgm:cxn modelId="{BE623663-BDA2-45AA-9A6A-B702C6691208}" type="presOf" srcId="{65C3D3EA-C636-4750-B371-1ACDDD3B3D58}" destId="{D079CC19-7DFE-452E-AA84-0BF759FEEC7F}" srcOrd="0" destOrd="0" presId="urn:microsoft.com/office/officeart/2005/8/layout/pyramid3"/>
    <dgm:cxn modelId="{BA545347-982E-40D0-B42A-54397B3650C7}" type="presOf" srcId="{C5755992-B20B-4671-A185-E7F1FE242B3A}" destId="{D8479E29-11DB-4FEB-A9C9-EE59CC6F6B34}" srcOrd="1" destOrd="0" presId="urn:microsoft.com/office/officeart/2005/8/layout/pyramid3"/>
    <dgm:cxn modelId="{32C1DC6C-9C52-42EA-A2D0-F68BB038ED78}" type="presOf" srcId="{6A449ABC-CED3-47A9-B668-833DC6B23BBB}" destId="{DE88B224-E860-4CF7-930C-67BA12B4A6AC}" srcOrd="1" destOrd="0" presId="urn:microsoft.com/office/officeart/2005/8/layout/pyramid3"/>
    <dgm:cxn modelId="{BEA57551-1958-4248-AC5E-C411E68F8436}" type="presOf" srcId="{A5076A5B-0707-4B8A-8E2E-969E7EDD60A9}" destId="{72320267-E8B3-4742-AF2E-0A6AED7F7813}" srcOrd="1" destOrd="0" presId="urn:microsoft.com/office/officeart/2005/8/layout/pyramid3"/>
    <dgm:cxn modelId="{CFCCD471-0B09-41F1-993C-DE697E3DF212}" srcId="{4BEC8150-9B3E-47A4-9FB0-70AB11A463EC}" destId="{D29FF7CD-4880-4B87-A72C-2B84EE6EBF28}" srcOrd="5" destOrd="0" parTransId="{5F841D26-9728-48A2-B4DD-C59B10A22CEA}" sibTransId="{9CBC5978-0669-43D4-89FC-E413DAE0C12A}"/>
    <dgm:cxn modelId="{55891552-EA7B-4ADA-8E4A-5CCFCD96364B}" type="presOf" srcId="{62A1551A-7D49-45B8-B754-87DB7936A7A4}" destId="{5B5A2ADE-9E3D-4F06-A3DD-CBAB16E73996}" srcOrd="1" destOrd="0" presId="urn:microsoft.com/office/officeart/2005/8/layout/pyramid3"/>
    <dgm:cxn modelId="{651BC872-6568-4722-8936-468C91938CC4}" srcId="{4BEC8150-9B3E-47A4-9FB0-70AB11A463EC}" destId="{979DE566-2F09-4732-9D3B-09B2E40B5146}" srcOrd="9" destOrd="0" parTransId="{D48CF5DC-9930-4FB7-B5CD-F8013FB71B99}" sibTransId="{727958E8-4A0A-4CB5-A732-D80DCC5776EC}"/>
    <dgm:cxn modelId="{1C30B056-9337-4CCF-81BD-67B479A5BBC9}" srcId="{4BEC8150-9B3E-47A4-9FB0-70AB11A463EC}" destId="{0A76A789-FE39-4D1E-B8B0-B9559DCD8D85}" srcOrd="3" destOrd="0" parTransId="{35DE2855-0963-49A2-9713-60F20C334371}" sibTransId="{4F668316-5865-4D9F-A2F9-C121F383C92A}"/>
    <dgm:cxn modelId="{114D2681-C843-4F84-AB14-484738EB8FCA}" type="presOf" srcId="{6A449ABC-CED3-47A9-B668-833DC6B23BBB}" destId="{346AF249-1A6B-4BE7-A743-814A7E77930B}" srcOrd="0" destOrd="0" presId="urn:microsoft.com/office/officeart/2005/8/layout/pyramid3"/>
    <dgm:cxn modelId="{406B5C82-970C-43F2-A5C5-E37AA739ECAC}" type="presOf" srcId="{0A76A789-FE39-4D1E-B8B0-B9559DCD8D85}" destId="{49969F44-27C8-4C0D-AE71-DEF3B238BA0B}" srcOrd="0" destOrd="0" presId="urn:microsoft.com/office/officeart/2005/8/layout/pyramid3"/>
    <dgm:cxn modelId="{C53D0487-971B-436D-8114-031CC01EAD0E}" type="presOf" srcId="{B10B4D93-52A7-4A28-A2FC-7E4E730D5415}" destId="{9D853A64-CF4B-4D54-811A-0D1D963D3C77}" srcOrd="1" destOrd="0" presId="urn:microsoft.com/office/officeart/2005/8/layout/pyramid3"/>
    <dgm:cxn modelId="{835E399F-6C92-4259-8AEF-0082BDB756BD}" type="presOf" srcId="{0A76A789-FE39-4D1E-B8B0-B9559DCD8D85}" destId="{826E77B2-31AE-40E8-B21C-775A528A1E67}" srcOrd="1" destOrd="0" presId="urn:microsoft.com/office/officeart/2005/8/layout/pyramid3"/>
    <dgm:cxn modelId="{4D7878A1-B7E1-4E8A-8E3E-FA6844E0B3D3}" type="presOf" srcId="{DE3FA39A-CB9E-4CDA-A6DB-76F091B763B3}" destId="{8187E74D-14F8-4834-BF00-37F92DFBD292}" srcOrd="1" destOrd="0" presId="urn:microsoft.com/office/officeart/2005/8/layout/pyramid3"/>
    <dgm:cxn modelId="{D2D853A2-D2A8-45B3-B142-B26DEC1EB3C4}" srcId="{4BEC8150-9B3E-47A4-9FB0-70AB11A463EC}" destId="{B10B4D93-52A7-4A28-A2FC-7E4E730D5415}" srcOrd="7" destOrd="0" parTransId="{C02A6A63-DFBC-425B-B178-701E9FA20376}" sibTransId="{B25EA436-C985-415A-B97A-D099BAD2488C}"/>
    <dgm:cxn modelId="{DA7547B4-21F0-4FC8-BBA1-9A637CDAE8B4}" type="presOf" srcId="{D29FF7CD-4880-4B87-A72C-2B84EE6EBF28}" destId="{FE86B830-BCC9-405B-BB49-2A3951FC330B}" srcOrd="0" destOrd="0" presId="urn:microsoft.com/office/officeart/2005/8/layout/pyramid3"/>
    <dgm:cxn modelId="{CA531BDB-B9B6-48E9-A5A0-7BE5B04D45D3}" type="presOf" srcId="{B10B4D93-52A7-4A28-A2FC-7E4E730D5415}" destId="{9F720979-F27D-4847-BA5A-F26E35EB70B9}" srcOrd="0" destOrd="0" presId="urn:microsoft.com/office/officeart/2005/8/layout/pyramid3"/>
    <dgm:cxn modelId="{8087E4E2-16F7-4A5C-843F-6BEEE986FC05}" type="presOf" srcId="{979DE566-2F09-4732-9D3B-09B2E40B5146}" destId="{C8397219-9C46-43E6-BB34-C75B083A5E0B}" srcOrd="1" destOrd="0" presId="urn:microsoft.com/office/officeart/2005/8/layout/pyramid3"/>
    <dgm:cxn modelId="{DE7F52F5-A251-4552-9502-59B1ED81877C}" type="presOf" srcId="{D29FF7CD-4880-4B87-A72C-2B84EE6EBF28}" destId="{56815F07-6F80-4833-8E66-35FFFF4A076C}" srcOrd="1" destOrd="0" presId="urn:microsoft.com/office/officeart/2005/8/layout/pyramid3"/>
    <dgm:cxn modelId="{856A09F9-5474-48AE-B31B-07EC5163DA56}" srcId="{4BEC8150-9B3E-47A4-9FB0-70AB11A463EC}" destId="{C5755992-B20B-4671-A185-E7F1FE242B3A}" srcOrd="2" destOrd="0" parTransId="{EAC88E19-7E6B-4E02-9A5F-E7978A275A32}" sibTransId="{9F256443-F7E0-47A8-8E13-3AC64D427963}"/>
    <dgm:cxn modelId="{791DEAF9-9E1A-40A1-9767-18D19CC474AC}" type="presOf" srcId="{DE3FA39A-CB9E-4CDA-A6DB-76F091B763B3}" destId="{74A62A1B-EC9E-4D53-AE75-E895236BC769}" srcOrd="0" destOrd="0" presId="urn:microsoft.com/office/officeart/2005/8/layout/pyramid3"/>
    <dgm:cxn modelId="{669315FD-A2AF-4F37-8ED5-7EC73D99D1AB}" srcId="{4BEC8150-9B3E-47A4-9FB0-70AB11A463EC}" destId="{62A1551A-7D49-45B8-B754-87DB7936A7A4}" srcOrd="1" destOrd="0" parTransId="{A0CBB917-DB72-417F-8EF4-D60FFBDE9E95}" sibTransId="{132233F0-5200-4880-B355-70533C9030C8}"/>
    <dgm:cxn modelId="{2E87160D-2351-4D11-A316-F5429871B281}" type="presParOf" srcId="{8A8F4182-DBD6-4EC3-B214-F59DA6DBFB9B}" destId="{94A59C03-1E89-4C64-8136-D5AB9DB06985}" srcOrd="0" destOrd="0" presId="urn:microsoft.com/office/officeart/2005/8/layout/pyramid3"/>
    <dgm:cxn modelId="{DC8D8CB3-D0C1-486E-A0D7-6A50B57A06A0}" type="presParOf" srcId="{94A59C03-1E89-4C64-8136-D5AB9DB06985}" destId="{74A62A1B-EC9E-4D53-AE75-E895236BC769}" srcOrd="0" destOrd="0" presId="urn:microsoft.com/office/officeart/2005/8/layout/pyramid3"/>
    <dgm:cxn modelId="{E720FA35-320F-4084-80F0-E9DB1A16BAC9}" type="presParOf" srcId="{94A59C03-1E89-4C64-8136-D5AB9DB06985}" destId="{8187E74D-14F8-4834-BF00-37F92DFBD292}" srcOrd="1" destOrd="0" presId="urn:microsoft.com/office/officeart/2005/8/layout/pyramid3"/>
    <dgm:cxn modelId="{30AF1D50-626E-450F-9F24-7B61AEC3E955}" type="presParOf" srcId="{8A8F4182-DBD6-4EC3-B214-F59DA6DBFB9B}" destId="{6F55B9C8-1DB2-482D-93D2-DC553B4B0702}" srcOrd="1" destOrd="0" presId="urn:microsoft.com/office/officeart/2005/8/layout/pyramid3"/>
    <dgm:cxn modelId="{520A98A5-A44C-45D9-BF6B-E7AFC209962D}" type="presParOf" srcId="{6F55B9C8-1DB2-482D-93D2-DC553B4B0702}" destId="{21154752-D45E-44FF-A9CE-3E3A71D95E15}" srcOrd="0" destOrd="0" presId="urn:microsoft.com/office/officeart/2005/8/layout/pyramid3"/>
    <dgm:cxn modelId="{5D2F1211-EDFE-418B-8DD0-42E278D809E4}" type="presParOf" srcId="{6F55B9C8-1DB2-482D-93D2-DC553B4B0702}" destId="{5B5A2ADE-9E3D-4F06-A3DD-CBAB16E73996}" srcOrd="1" destOrd="0" presId="urn:microsoft.com/office/officeart/2005/8/layout/pyramid3"/>
    <dgm:cxn modelId="{6C7CD097-7066-4041-B66E-849C0F95C80B}" type="presParOf" srcId="{8A8F4182-DBD6-4EC3-B214-F59DA6DBFB9B}" destId="{31DF61A4-190F-48FE-A294-34B2C574FA6A}" srcOrd="2" destOrd="0" presId="urn:microsoft.com/office/officeart/2005/8/layout/pyramid3"/>
    <dgm:cxn modelId="{5A536CA4-C55A-444A-BF2F-B9C2D13F9EEB}" type="presParOf" srcId="{31DF61A4-190F-48FE-A294-34B2C574FA6A}" destId="{58166823-ED47-4033-8077-B9033902F4BA}" srcOrd="0" destOrd="0" presId="urn:microsoft.com/office/officeart/2005/8/layout/pyramid3"/>
    <dgm:cxn modelId="{0A393857-1074-435B-8ED9-14DBDA943DCD}" type="presParOf" srcId="{31DF61A4-190F-48FE-A294-34B2C574FA6A}" destId="{D8479E29-11DB-4FEB-A9C9-EE59CC6F6B34}" srcOrd="1" destOrd="0" presId="urn:microsoft.com/office/officeart/2005/8/layout/pyramid3"/>
    <dgm:cxn modelId="{33100D46-5226-4124-8A11-77CBC2561893}" type="presParOf" srcId="{8A8F4182-DBD6-4EC3-B214-F59DA6DBFB9B}" destId="{8D24652E-A629-4EC3-AC8B-B82DA3F08752}" srcOrd="3" destOrd="0" presId="urn:microsoft.com/office/officeart/2005/8/layout/pyramid3"/>
    <dgm:cxn modelId="{58FE6EE3-99BC-4BDC-A895-D75AD5C818B9}" type="presParOf" srcId="{8D24652E-A629-4EC3-AC8B-B82DA3F08752}" destId="{49969F44-27C8-4C0D-AE71-DEF3B238BA0B}" srcOrd="0" destOrd="0" presId="urn:microsoft.com/office/officeart/2005/8/layout/pyramid3"/>
    <dgm:cxn modelId="{CC531822-F909-4EB1-8E86-F81668C8CE41}" type="presParOf" srcId="{8D24652E-A629-4EC3-AC8B-B82DA3F08752}" destId="{826E77B2-31AE-40E8-B21C-775A528A1E67}" srcOrd="1" destOrd="0" presId="urn:microsoft.com/office/officeart/2005/8/layout/pyramid3"/>
    <dgm:cxn modelId="{22440A07-832D-4C8B-8328-3CAFFE0A45A5}" type="presParOf" srcId="{8A8F4182-DBD6-4EC3-B214-F59DA6DBFB9B}" destId="{5C9153F8-39EA-4784-8A9A-63AAEB4927EC}" srcOrd="4" destOrd="0" presId="urn:microsoft.com/office/officeart/2005/8/layout/pyramid3"/>
    <dgm:cxn modelId="{AC0B29D4-9391-4BCE-B3FB-17545E888311}" type="presParOf" srcId="{5C9153F8-39EA-4784-8A9A-63AAEB4927EC}" destId="{D079CC19-7DFE-452E-AA84-0BF759FEEC7F}" srcOrd="0" destOrd="0" presId="urn:microsoft.com/office/officeart/2005/8/layout/pyramid3"/>
    <dgm:cxn modelId="{916AC860-3896-4F60-BB98-2A635A2ABB49}" type="presParOf" srcId="{5C9153F8-39EA-4784-8A9A-63AAEB4927EC}" destId="{9BB3109D-7A2F-4140-A2AA-76173899D3E6}" srcOrd="1" destOrd="0" presId="urn:microsoft.com/office/officeart/2005/8/layout/pyramid3"/>
    <dgm:cxn modelId="{8FBD0FD5-1A2D-4484-A29E-401C4AE47FE9}" type="presParOf" srcId="{8A8F4182-DBD6-4EC3-B214-F59DA6DBFB9B}" destId="{BAF307F1-5783-4A75-A8D5-CB9F95876CE4}" srcOrd="5" destOrd="0" presId="urn:microsoft.com/office/officeart/2005/8/layout/pyramid3"/>
    <dgm:cxn modelId="{30F1D3FC-F7C3-4EB9-875F-DEAF0AF8DD6C}" type="presParOf" srcId="{BAF307F1-5783-4A75-A8D5-CB9F95876CE4}" destId="{FE86B830-BCC9-405B-BB49-2A3951FC330B}" srcOrd="0" destOrd="0" presId="urn:microsoft.com/office/officeart/2005/8/layout/pyramid3"/>
    <dgm:cxn modelId="{78E1F7C8-A1B1-49AC-ABC4-7D22E84D8FB9}" type="presParOf" srcId="{BAF307F1-5783-4A75-A8D5-CB9F95876CE4}" destId="{56815F07-6F80-4833-8E66-35FFFF4A076C}" srcOrd="1" destOrd="0" presId="urn:microsoft.com/office/officeart/2005/8/layout/pyramid3"/>
    <dgm:cxn modelId="{2303977A-E783-4EBB-9FAE-BA1FF510D9D3}" type="presParOf" srcId="{8A8F4182-DBD6-4EC3-B214-F59DA6DBFB9B}" destId="{C52EBB92-D92D-4E75-8FAD-069C348BB197}" srcOrd="6" destOrd="0" presId="urn:microsoft.com/office/officeart/2005/8/layout/pyramid3"/>
    <dgm:cxn modelId="{EA44D06F-96EE-4DA2-A017-EBC05006BCB5}" type="presParOf" srcId="{C52EBB92-D92D-4E75-8FAD-069C348BB197}" destId="{346AF249-1A6B-4BE7-A743-814A7E77930B}" srcOrd="0" destOrd="0" presId="urn:microsoft.com/office/officeart/2005/8/layout/pyramid3"/>
    <dgm:cxn modelId="{FCB13181-6278-450A-8F42-289701A12944}" type="presParOf" srcId="{C52EBB92-D92D-4E75-8FAD-069C348BB197}" destId="{DE88B224-E860-4CF7-930C-67BA12B4A6AC}" srcOrd="1" destOrd="0" presId="urn:microsoft.com/office/officeart/2005/8/layout/pyramid3"/>
    <dgm:cxn modelId="{F3DFC4A5-2B49-4258-A594-36C2A3E7A702}" type="presParOf" srcId="{8A8F4182-DBD6-4EC3-B214-F59DA6DBFB9B}" destId="{8487FA5F-2680-4C02-A45A-4B213754FD9B}" srcOrd="7" destOrd="0" presId="urn:microsoft.com/office/officeart/2005/8/layout/pyramid3"/>
    <dgm:cxn modelId="{438AAD27-89E8-4D60-B797-D33DE01AC769}" type="presParOf" srcId="{8487FA5F-2680-4C02-A45A-4B213754FD9B}" destId="{9F720979-F27D-4847-BA5A-F26E35EB70B9}" srcOrd="0" destOrd="0" presId="urn:microsoft.com/office/officeart/2005/8/layout/pyramid3"/>
    <dgm:cxn modelId="{367EE005-B639-4867-AB03-82ABB83CCCB5}" type="presParOf" srcId="{8487FA5F-2680-4C02-A45A-4B213754FD9B}" destId="{9D853A64-CF4B-4D54-811A-0D1D963D3C77}" srcOrd="1" destOrd="0" presId="urn:microsoft.com/office/officeart/2005/8/layout/pyramid3"/>
    <dgm:cxn modelId="{66A20C0E-BC35-497C-BC14-5F395E6B4938}" type="presParOf" srcId="{8A8F4182-DBD6-4EC3-B214-F59DA6DBFB9B}" destId="{1D3E8450-5CA0-4F88-97EB-9A9D78D5AF87}" srcOrd="8" destOrd="0" presId="urn:microsoft.com/office/officeart/2005/8/layout/pyramid3"/>
    <dgm:cxn modelId="{3A4B1324-2BC6-4713-83FA-A6F029AE9CF1}" type="presParOf" srcId="{1D3E8450-5CA0-4F88-97EB-9A9D78D5AF87}" destId="{369C718A-F771-43F0-8C1D-24F705BB8243}" srcOrd="0" destOrd="0" presId="urn:microsoft.com/office/officeart/2005/8/layout/pyramid3"/>
    <dgm:cxn modelId="{7B9C6299-3FC1-4BEF-9F49-916135C816F1}" type="presParOf" srcId="{1D3E8450-5CA0-4F88-97EB-9A9D78D5AF87}" destId="{72320267-E8B3-4742-AF2E-0A6AED7F7813}" srcOrd="1" destOrd="0" presId="urn:microsoft.com/office/officeart/2005/8/layout/pyramid3"/>
    <dgm:cxn modelId="{BBC4F83A-3C3A-4B21-9564-5195BECC9411}" type="presParOf" srcId="{8A8F4182-DBD6-4EC3-B214-F59DA6DBFB9B}" destId="{CE57149A-7705-496C-A1B5-F023D5710179}" srcOrd="9" destOrd="0" presId="urn:microsoft.com/office/officeart/2005/8/layout/pyramid3"/>
    <dgm:cxn modelId="{3AA74420-6419-42B4-A757-F20B3DE55E26}" type="presParOf" srcId="{CE57149A-7705-496C-A1B5-F023D5710179}" destId="{CA62244B-4AAF-4DA3-8BDD-3761F110C01B}" srcOrd="0" destOrd="0" presId="urn:microsoft.com/office/officeart/2005/8/layout/pyramid3"/>
    <dgm:cxn modelId="{E40B69CB-D14B-4795-9AB4-18D7E5EE8466}" type="presParOf" srcId="{CE57149A-7705-496C-A1B5-F023D5710179}" destId="{C8397219-9C46-43E6-BB34-C75B083A5E0B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A62A1B-EC9E-4D53-AE75-E895236BC769}">
      <dsp:nvSpPr>
        <dsp:cNvPr id="0" name=""/>
        <dsp:cNvSpPr/>
      </dsp:nvSpPr>
      <dsp:spPr>
        <a:xfrm rot="10800000">
          <a:off x="0" y="0"/>
          <a:ext cx="1600199" cy="556260"/>
        </a:xfrm>
        <a:prstGeom prst="trapezoid">
          <a:avLst>
            <a:gd name="adj" fmla="val 14384"/>
          </a:avLst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More efficient Development</a:t>
          </a:r>
          <a:endParaRPr lang="en-US" sz="900" kern="1200" dirty="0">
            <a:solidFill>
              <a:schemeClr val="bg1"/>
            </a:solidFill>
          </a:endParaRPr>
        </a:p>
      </dsp:txBody>
      <dsp:txXfrm rot="-10800000">
        <a:off x="280035" y="0"/>
        <a:ext cx="1040130" cy="556260"/>
      </dsp:txXfrm>
    </dsp:sp>
    <dsp:sp modelId="{21154752-D45E-44FF-A9CE-3E3A71D95E15}">
      <dsp:nvSpPr>
        <dsp:cNvPr id="0" name=""/>
        <dsp:cNvSpPr/>
      </dsp:nvSpPr>
      <dsp:spPr>
        <a:xfrm rot="10800000">
          <a:off x="80010" y="556260"/>
          <a:ext cx="1440179" cy="556260"/>
        </a:xfrm>
        <a:prstGeom prst="trapezoid">
          <a:avLst>
            <a:gd name="adj" fmla="val 14384"/>
          </a:avLst>
        </a:prstGeom>
        <a:solidFill>
          <a:schemeClr val="accent3">
            <a:shade val="80000"/>
            <a:hueOff val="-10987"/>
            <a:satOff val="-3753"/>
            <a:lumOff val="36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More efficient meetings</a:t>
          </a:r>
          <a:endParaRPr lang="en-US" sz="900" kern="1200" dirty="0">
            <a:solidFill>
              <a:schemeClr val="bg1"/>
            </a:solidFill>
          </a:endParaRPr>
        </a:p>
      </dsp:txBody>
      <dsp:txXfrm rot="-10800000">
        <a:off x="332041" y="556260"/>
        <a:ext cx="936117" cy="556260"/>
      </dsp:txXfrm>
    </dsp:sp>
    <dsp:sp modelId="{58166823-ED47-4033-8077-B9033902F4BA}">
      <dsp:nvSpPr>
        <dsp:cNvPr id="0" name=""/>
        <dsp:cNvSpPr/>
      </dsp:nvSpPr>
      <dsp:spPr>
        <a:xfrm rot="10800000">
          <a:off x="160020" y="1112519"/>
          <a:ext cx="1280160" cy="556260"/>
        </a:xfrm>
        <a:prstGeom prst="trapezoid">
          <a:avLst>
            <a:gd name="adj" fmla="val 14384"/>
          </a:avLst>
        </a:prstGeom>
        <a:solidFill>
          <a:schemeClr val="accent3">
            <a:shade val="80000"/>
            <a:hueOff val="-21973"/>
            <a:satOff val="-7507"/>
            <a:lumOff val="72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More efficient meetings</a:t>
          </a:r>
          <a:endParaRPr lang="en-US" sz="900" kern="1200" dirty="0">
            <a:solidFill>
              <a:schemeClr val="bg1"/>
            </a:solidFill>
          </a:endParaRPr>
        </a:p>
      </dsp:txBody>
      <dsp:txXfrm rot="-10800000">
        <a:off x="384047" y="1112519"/>
        <a:ext cx="832104" cy="556260"/>
      </dsp:txXfrm>
    </dsp:sp>
    <dsp:sp modelId="{49969F44-27C8-4C0D-AE71-DEF3B238BA0B}">
      <dsp:nvSpPr>
        <dsp:cNvPr id="0" name=""/>
        <dsp:cNvSpPr/>
      </dsp:nvSpPr>
      <dsp:spPr>
        <a:xfrm rot="10800000">
          <a:off x="240030" y="1668780"/>
          <a:ext cx="1120140" cy="556260"/>
        </a:xfrm>
        <a:prstGeom prst="trapezoid">
          <a:avLst>
            <a:gd name="adj" fmla="val 14384"/>
          </a:avLst>
        </a:prstGeom>
        <a:solidFill>
          <a:schemeClr val="accent3">
            <a:shade val="80000"/>
            <a:hueOff val="-32960"/>
            <a:satOff val="-11260"/>
            <a:lumOff val="108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kern="1200">
              <a:solidFill>
                <a:schemeClr val="bg1"/>
              </a:solidFill>
            </a:rPr>
            <a:t>More efficient Development</a:t>
          </a:r>
          <a:endParaRPr lang="en-US" sz="850" kern="1200" dirty="0">
            <a:solidFill>
              <a:schemeClr val="bg1"/>
            </a:solidFill>
          </a:endParaRPr>
        </a:p>
      </dsp:txBody>
      <dsp:txXfrm rot="-10800000">
        <a:off x="436054" y="1668780"/>
        <a:ext cx="728091" cy="556260"/>
      </dsp:txXfrm>
    </dsp:sp>
    <dsp:sp modelId="{D079CC19-7DFE-452E-AA84-0BF759FEEC7F}">
      <dsp:nvSpPr>
        <dsp:cNvPr id="0" name=""/>
        <dsp:cNvSpPr/>
      </dsp:nvSpPr>
      <dsp:spPr>
        <a:xfrm rot="10800000">
          <a:off x="320040" y="2225040"/>
          <a:ext cx="960120" cy="556260"/>
        </a:xfrm>
        <a:prstGeom prst="trapezoid">
          <a:avLst>
            <a:gd name="adj" fmla="val 14384"/>
          </a:avLst>
        </a:prstGeom>
        <a:solidFill>
          <a:schemeClr val="accent3">
            <a:shade val="80000"/>
            <a:hueOff val="-43947"/>
            <a:satOff val="-15013"/>
            <a:lumOff val="1447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Take CMC Off Critical Path</a:t>
          </a:r>
          <a:endParaRPr lang="en-US" sz="900" kern="1200" dirty="0">
            <a:solidFill>
              <a:schemeClr val="bg1"/>
            </a:solidFill>
          </a:endParaRPr>
        </a:p>
      </dsp:txBody>
      <dsp:txXfrm rot="-10800000">
        <a:off x="488061" y="2225040"/>
        <a:ext cx="624078" cy="556260"/>
      </dsp:txXfrm>
    </dsp:sp>
    <dsp:sp modelId="{FE86B830-BCC9-405B-BB49-2A3951FC330B}">
      <dsp:nvSpPr>
        <dsp:cNvPr id="0" name=""/>
        <dsp:cNvSpPr/>
      </dsp:nvSpPr>
      <dsp:spPr>
        <a:xfrm rot="10800000">
          <a:off x="400050" y="2781300"/>
          <a:ext cx="800100" cy="556260"/>
        </a:xfrm>
        <a:prstGeom prst="trapezoid">
          <a:avLst>
            <a:gd name="adj" fmla="val 14384"/>
          </a:avLst>
        </a:prstGeom>
        <a:solidFill>
          <a:schemeClr val="accent3">
            <a:shade val="80000"/>
            <a:hueOff val="-54934"/>
            <a:satOff val="-18767"/>
            <a:lumOff val="180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chemeClr val="bg1"/>
              </a:solidFill>
            </a:rPr>
            <a:t>Meetings scheduled faster</a:t>
          </a:r>
          <a:endParaRPr lang="en-US" sz="800" kern="1200" dirty="0">
            <a:solidFill>
              <a:schemeClr val="bg1"/>
            </a:solidFill>
          </a:endParaRPr>
        </a:p>
      </dsp:txBody>
      <dsp:txXfrm rot="-10800000">
        <a:off x="540067" y="2781300"/>
        <a:ext cx="520065" cy="556260"/>
      </dsp:txXfrm>
    </dsp:sp>
    <dsp:sp modelId="{346AF249-1A6B-4BE7-A743-814A7E77930B}">
      <dsp:nvSpPr>
        <dsp:cNvPr id="0" name=""/>
        <dsp:cNvSpPr/>
      </dsp:nvSpPr>
      <dsp:spPr>
        <a:xfrm rot="10800000">
          <a:off x="480060" y="3337560"/>
          <a:ext cx="640080" cy="556260"/>
        </a:xfrm>
        <a:prstGeom prst="trapezoid">
          <a:avLst>
            <a:gd name="adj" fmla="val 14384"/>
          </a:avLst>
        </a:prstGeom>
        <a:solidFill>
          <a:schemeClr val="accent3">
            <a:shade val="80000"/>
            <a:hueOff val="-65920"/>
            <a:satOff val="-22520"/>
            <a:lumOff val="217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Faster pace</a:t>
          </a:r>
        </a:p>
      </dsp:txBody>
      <dsp:txXfrm rot="-10800000">
        <a:off x="592074" y="3337560"/>
        <a:ext cx="416052" cy="556260"/>
      </dsp:txXfrm>
    </dsp:sp>
    <dsp:sp modelId="{9F720979-F27D-4847-BA5A-F26E35EB70B9}">
      <dsp:nvSpPr>
        <dsp:cNvPr id="0" name=""/>
        <dsp:cNvSpPr/>
      </dsp:nvSpPr>
      <dsp:spPr>
        <a:xfrm rot="10800000">
          <a:off x="560070" y="3893820"/>
          <a:ext cx="480060" cy="556260"/>
        </a:xfrm>
        <a:prstGeom prst="trapezoid">
          <a:avLst>
            <a:gd name="adj" fmla="val 16667"/>
          </a:avLst>
        </a:prstGeom>
        <a:solidFill>
          <a:schemeClr val="accent3">
            <a:shade val="80000"/>
            <a:hueOff val="-76907"/>
            <a:satOff val="-26273"/>
            <a:lumOff val="2532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kern="1200">
              <a:solidFill>
                <a:schemeClr val="bg1"/>
              </a:solidFill>
            </a:rPr>
            <a:t>Faster review</a:t>
          </a:r>
          <a:endParaRPr lang="en-US" sz="750" kern="1200" dirty="0">
            <a:solidFill>
              <a:schemeClr val="bg1"/>
            </a:solidFill>
          </a:endParaRPr>
        </a:p>
      </dsp:txBody>
      <dsp:txXfrm rot="-10800000">
        <a:off x="644080" y="3893820"/>
        <a:ext cx="312039" cy="556260"/>
      </dsp:txXfrm>
    </dsp:sp>
    <dsp:sp modelId="{369C718A-F771-43F0-8C1D-24F705BB8243}">
      <dsp:nvSpPr>
        <dsp:cNvPr id="0" name=""/>
        <dsp:cNvSpPr/>
      </dsp:nvSpPr>
      <dsp:spPr>
        <a:xfrm rot="10800000">
          <a:off x="640080" y="4450080"/>
          <a:ext cx="320040" cy="556260"/>
        </a:xfrm>
        <a:prstGeom prst="trapezoid">
          <a:avLst>
            <a:gd name="adj" fmla="val 25000"/>
          </a:avLst>
        </a:prstGeom>
        <a:solidFill>
          <a:schemeClr val="accent3">
            <a:shade val="80000"/>
            <a:hueOff val="-87894"/>
            <a:satOff val="-30027"/>
            <a:lumOff val="2894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>
            <a:solidFill>
              <a:schemeClr val="bg1"/>
            </a:solidFill>
          </a:endParaRPr>
        </a:p>
      </dsp:txBody>
      <dsp:txXfrm rot="-10800000">
        <a:off x="696087" y="4450080"/>
        <a:ext cx="208026" cy="556260"/>
      </dsp:txXfrm>
    </dsp:sp>
    <dsp:sp modelId="{CA62244B-4AAF-4DA3-8BDD-3761F110C01B}">
      <dsp:nvSpPr>
        <dsp:cNvPr id="0" name=""/>
        <dsp:cNvSpPr/>
      </dsp:nvSpPr>
      <dsp:spPr>
        <a:xfrm rot="10800000">
          <a:off x="720090" y="5006340"/>
          <a:ext cx="160020" cy="556260"/>
        </a:xfrm>
        <a:prstGeom prst="trapezoid">
          <a:avLst>
            <a:gd name="adj" fmla="val 50000"/>
          </a:avLst>
        </a:prstGeom>
        <a:solidFill>
          <a:schemeClr val="accent3">
            <a:shade val="80000"/>
            <a:hueOff val="-98881"/>
            <a:satOff val="-33780"/>
            <a:lumOff val="325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 rot="-10800000">
        <a:off x="720090" y="5006340"/>
        <a:ext cx="160020" cy="5562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D911D9-7160-4B42-BEAB-188385BAA71F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B7BFE9-59AE-41C3-A4DC-AC1D82E1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899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488F4B-C8AB-4DED-82A3-6F6C06D43A3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762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5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E4E587-8CD0-4F51-B0FD-E5D6A66707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5544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7297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488F4B-C8AB-4DED-82A3-6F6C06D43A3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361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488F4B-C8AB-4DED-82A3-6F6C06D43A3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646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8CDAB-03BE-6DC6-474F-343F5DFB34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EC8887-882A-DDC8-1E65-89D9F8E722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C10F20-51F6-FDD7-F74E-7032A9623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C4132B-0C7B-C113-091C-CF6DE8AEA8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9C89EC-63A5-14A1-D88D-C0F9AA040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119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1BF8-74F0-D056-ED5C-C19C5E75B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C71091-E9CF-D33A-3FA3-01E73A2B9A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EF9E1-F2B2-1EE7-9A9A-0F03EF042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43C128-B2D1-9698-A265-0BC01B670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A4968B-37F1-37DB-3054-3CE282DE9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867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F0DE27-4AC5-55FC-BEEF-8FA6AD78D51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E2AC09-CDE6-991F-44A4-6B03F79D89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5B80D1-32AB-E769-7C8C-2FE5044484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05D83C-2150-EB0F-0F22-4A145635A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2A5C15-FE17-4109-6E1D-83799244E5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840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Dark - 90p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Holder 2">
            <a:extLst>
              <a:ext uri="{FF2B5EF4-FFF2-40B4-BE49-F238E27FC236}">
                <a16:creationId xmlns:a16="http://schemas.microsoft.com/office/drawing/2014/main" id="{580223D4-1A4E-4A14-A2D8-BBB200ECFB0A}"/>
              </a:ext>
            </a:extLst>
          </p:cNvPr>
          <p:cNvSpPr txBox="1">
            <a:spLocks/>
          </p:cNvSpPr>
          <p:nvPr userDrawn="1"/>
        </p:nvSpPr>
        <p:spPr>
          <a:xfrm>
            <a:off x="762000" y="6400800"/>
            <a:ext cx="1945105" cy="147458"/>
          </a:xfrm>
          <a:prstGeom prst="rect">
            <a:avLst/>
          </a:prstGeom>
        </p:spPr>
        <p:txBody>
          <a:bodyPr lIns="0" tIns="0" rIns="0" bIns="0"/>
          <a:lstStyle>
            <a:lvl1pPr>
              <a:defRPr sz="720" b="1" cap="all" spc="9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00"/>
            <a:r>
              <a:rPr lang="en-US" kern="0" dirty="0"/>
              <a:t>Confidential &amp; Proprietary</a:t>
            </a:r>
          </a:p>
        </p:txBody>
      </p:sp>
      <p:sp>
        <p:nvSpPr>
          <p:cNvPr id="34" name="object 29">
            <a:extLst>
              <a:ext uri="{FF2B5EF4-FFF2-40B4-BE49-F238E27FC236}">
                <a16:creationId xmlns:a16="http://schemas.microsoft.com/office/drawing/2014/main" id="{F35C1383-B1CE-44DC-BC5C-B5DE5D37EB13}"/>
              </a:ext>
            </a:extLst>
          </p:cNvPr>
          <p:cNvSpPr/>
          <p:nvPr userDrawn="1"/>
        </p:nvSpPr>
        <p:spPr>
          <a:xfrm>
            <a:off x="10119617" y="700587"/>
            <a:ext cx="1456709" cy="9204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24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8FD5D216-C743-4A73-BB82-126768E0386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58703" y="1714502"/>
            <a:ext cx="9909297" cy="3119252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defRPr sz="90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80000"/>
              </a:lnSpc>
              <a:defRPr sz="90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80000"/>
              </a:lnSpc>
              <a:defRPr sz="90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90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5458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presentation</a:t>
            </a:r>
          </a:p>
          <a:p>
            <a:pPr lvl="0"/>
            <a:r>
              <a:rPr lang="en-US" dirty="0"/>
              <a:t>Title 90 </a:t>
            </a:r>
            <a:r>
              <a:rPr lang="en-US" dirty="0" err="1"/>
              <a:t>pt</a:t>
            </a:r>
            <a:endParaRPr lang="en-US" dirty="0"/>
          </a:p>
          <a:p>
            <a:pPr lvl="0"/>
            <a:r>
              <a:rPr lang="en-US" dirty="0"/>
              <a:t>Bold all caps 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60E0B4CD-3A09-48B8-A435-A898689D0B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457199"/>
            <a:ext cx="1609344" cy="493664"/>
          </a:xfrm>
          <a:prstGeom prst="rect">
            <a:avLst/>
          </a:prstGeom>
        </p:spPr>
      </p:pic>
      <p:sp>
        <p:nvSpPr>
          <p:cNvPr id="3" name="Content Placeholder 40">
            <a:extLst>
              <a:ext uri="{FF2B5EF4-FFF2-40B4-BE49-F238E27FC236}">
                <a16:creationId xmlns:a16="http://schemas.microsoft.com/office/drawing/2014/main" id="{EC68211B-CEB0-D5B6-8382-454555899DB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58703" y="5486400"/>
            <a:ext cx="3508498" cy="838200"/>
          </a:xfrm>
          <a:prstGeom prst="rect">
            <a:avLst/>
          </a:prstGeom>
        </p:spPr>
        <p:txBody>
          <a:bodyPr/>
          <a:lstStyle>
            <a:lvl1pPr>
              <a:defRPr lang="en-US" sz="1400" b="0" i="0" u="none" strike="noStrike" baseline="0" smtClean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&lt;Forum&gt;</a:t>
            </a:r>
          </a:p>
          <a:p>
            <a:r>
              <a:rPr lang="en-US" dirty="0"/>
              <a:t>&lt;Date of presentation&gt;</a:t>
            </a:r>
          </a:p>
          <a:p>
            <a:r>
              <a:rPr lang="en-US" dirty="0"/>
              <a:t>&lt;Name of Presenter(s) and/or Authors&gt;</a:t>
            </a:r>
          </a:p>
        </p:txBody>
      </p:sp>
    </p:spTree>
    <p:extLst>
      <p:ext uri="{BB962C8B-B14F-4D97-AF65-F5344CB8AC3E}">
        <p14:creationId xmlns:p14="http://schemas.microsoft.com/office/powerpoint/2010/main" val="805119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sign with white text&#10;&#10;Description automatically generated">
            <a:extLst>
              <a:ext uri="{FF2B5EF4-FFF2-40B4-BE49-F238E27FC236}">
                <a16:creationId xmlns:a16="http://schemas.microsoft.com/office/drawing/2014/main" id="{3733377B-E8C1-488D-B973-39C96FFAD0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456560"/>
            <a:ext cx="1591056" cy="488054"/>
          </a:xfrm>
          <a:prstGeom prst="rect">
            <a:avLst/>
          </a:prstGeom>
        </p:spPr>
      </p:pic>
      <p:sp>
        <p:nvSpPr>
          <p:cNvPr id="34" name="object 29">
            <a:extLst>
              <a:ext uri="{FF2B5EF4-FFF2-40B4-BE49-F238E27FC236}">
                <a16:creationId xmlns:a16="http://schemas.microsoft.com/office/drawing/2014/main" id="{F35C1383-B1CE-44DC-BC5C-B5DE5D37EB13}"/>
              </a:ext>
            </a:extLst>
          </p:cNvPr>
          <p:cNvSpPr/>
          <p:nvPr userDrawn="1"/>
        </p:nvSpPr>
        <p:spPr>
          <a:xfrm>
            <a:off x="10119617" y="700587"/>
            <a:ext cx="1456709" cy="92043"/>
          </a:xfrm>
          <a:prstGeom prst="rect">
            <a:avLst/>
          </a:prstGeom>
          <a:blipFill>
            <a:blip r:embed="rId3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24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8FD5D216-C743-4A73-BB82-126768E0386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58703" y="1714501"/>
            <a:ext cx="10137897" cy="3119252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defRPr sz="9000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80000"/>
              </a:lnSpc>
              <a:defRPr sz="90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80000"/>
              </a:lnSpc>
              <a:defRPr sz="90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90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5458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TEGRASE</a:t>
            </a:r>
          </a:p>
          <a:p>
            <a:pPr lvl="0"/>
            <a:r>
              <a:rPr lang="en-US" dirty="0"/>
              <a:t>PROJECT</a:t>
            </a:r>
          </a:p>
          <a:p>
            <a:pPr lvl="0"/>
            <a:r>
              <a:rPr lang="en-US" dirty="0"/>
              <a:t>UPDATE</a:t>
            </a:r>
          </a:p>
        </p:txBody>
      </p:sp>
      <p:sp>
        <p:nvSpPr>
          <p:cNvPr id="13" name="Holder 2">
            <a:extLst>
              <a:ext uri="{FF2B5EF4-FFF2-40B4-BE49-F238E27FC236}">
                <a16:creationId xmlns:a16="http://schemas.microsoft.com/office/drawing/2014/main" id="{CC86D7FC-056E-42F4-B0D2-6994D7AD483F}"/>
              </a:ext>
            </a:extLst>
          </p:cNvPr>
          <p:cNvSpPr txBox="1">
            <a:spLocks/>
          </p:cNvSpPr>
          <p:nvPr userDrawn="1"/>
        </p:nvSpPr>
        <p:spPr>
          <a:xfrm>
            <a:off x="762000" y="6400800"/>
            <a:ext cx="1945105" cy="147458"/>
          </a:xfrm>
          <a:prstGeom prst="rect">
            <a:avLst/>
          </a:prstGeom>
        </p:spPr>
        <p:txBody>
          <a:bodyPr lIns="0" tIns="0" rIns="0" bIns="0"/>
          <a:lstStyle>
            <a:lvl1pPr>
              <a:defRPr sz="720" b="1" cap="all" spc="9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00"/>
            <a:r>
              <a:rPr lang="en-US" kern="0" dirty="0">
                <a:solidFill>
                  <a:schemeClr val="tx1"/>
                </a:solidFill>
              </a:rPr>
              <a:t>Confidential &amp; Proprietary</a:t>
            </a:r>
          </a:p>
        </p:txBody>
      </p:sp>
      <p:sp>
        <p:nvSpPr>
          <p:cNvPr id="4" name="Content Placeholder 40">
            <a:extLst>
              <a:ext uri="{FF2B5EF4-FFF2-40B4-BE49-F238E27FC236}">
                <a16:creationId xmlns:a16="http://schemas.microsoft.com/office/drawing/2014/main" id="{0ADADAC7-06FC-5AF7-0C1A-9AC05F51209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58703" y="5486400"/>
            <a:ext cx="3508498" cy="838200"/>
          </a:xfrm>
          <a:prstGeom prst="rect">
            <a:avLst/>
          </a:prstGeom>
        </p:spPr>
        <p:txBody>
          <a:bodyPr/>
          <a:lstStyle>
            <a:lvl1pPr>
              <a:defRPr lang="en-US" sz="1400" b="0" i="0" u="none" strike="noStrike" baseline="0" smtClean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&lt;Forum&gt;</a:t>
            </a:r>
          </a:p>
          <a:p>
            <a:r>
              <a:rPr lang="en-US" dirty="0"/>
              <a:t>&lt;Date of presentation&gt;</a:t>
            </a:r>
          </a:p>
          <a:p>
            <a:r>
              <a:rPr lang="en-US" dirty="0"/>
              <a:t>&lt;Name of Presenter(s) and/or Authors&gt;</a:t>
            </a:r>
          </a:p>
        </p:txBody>
      </p:sp>
    </p:spTree>
    <p:extLst>
      <p:ext uri="{BB962C8B-B14F-4D97-AF65-F5344CB8AC3E}">
        <p14:creationId xmlns:p14="http://schemas.microsoft.com/office/powerpoint/2010/main" val="1848712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text box o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1CB4C5B0-50C2-4B3B-982A-14253F89FEF6}"/>
              </a:ext>
            </a:extLst>
          </p:cNvPr>
          <p:cNvSpPr txBox="1"/>
          <p:nvPr userDrawn="1"/>
        </p:nvSpPr>
        <p:spPr>
          <a:xfrm>
            <a:off x="1295400" y="1315369"/>
            <a:ext cx="2438400" cy="445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spc="90" baseline="0" dirty="0">
                <a:solidFill>
                  <a:schemeClr val="accent3"/>
                </a:solidFill>
              </a:rPr>
              <a:t>TABLE OF CONTENTS</a:t>
            </a:r>
          </a:p>
          <a:p>
            <a:endParaRPr lang="en-US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E1CFB8-E1A8-4ECC-AFC4-2B35D23468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0600" y="1600200"/>
            <a:ext cx="9287256" cy="3886200"/>
          </a:xfrm>
          <a:prstGeom prst="rect">
            <a:avLst/>
          </a:prstGeom>
        </p:spPr>
        <p:txBody>
          <a:bodyPr/>
          <a:lstStyle>
            <a:lvl1pPr marL="341313" indent="-341313">
              <a:lnSpc>
                <a:spcPct val="160000"/>
              </a:lnSpc>
              <a:buClr>
                <a:schemeClr val="accent3"/>
              </a:buClr>
              <a:buSzPct val="45000"/>
              <a:buFont typeface="+mj-lt"/>
              <a:buAutoNum type="arabicPeriod"/>
              <a:defRPr sz="3000" b="1">
                <a:solidFill>
                  <a:schemeClr val="tx1"/>
                </a:solidFill>
              </a:defRPr>
            </a:lvl1pPr>
            <a:lvl2pPr marL="791596" indent="-514350">
              <a:buClr>
                <a:schemeClr val="accent3"/>
              </a:buClr>
              <a:buSzPct val="32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2pPr>
            <a:lvl3pPr marL="1068842" indent="-514350">
              <a:buClr>
                <a:schemeClr val="accent1"/>
              </a:buClr>
              <a:buSzPct val="32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3pPr>
            <a:lvl4pPr marL="1346088" indent="-514350">
              <a:buClr>
                <a:schemeClr val="accent1"/>
              </a:buClr>
              <a:buSzPct val="32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4pPr>
            <a:lvl5pPr marL="1623335" indent="-514350">
              <a:buClr>
                <a:schemeClr val="accent1"/>
              </a:buClr>
              <a:buSzPct val="32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0059EAF-B4BD-4B2E-83B4-9BFE1C7B74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C86A1F6-C4D5-43EE-8B1A-8AB0EED9FE47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0CE3E7DF-0F66-4874-9D9E-3EE46A67E8EC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23246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text box on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1CB4C5B0-50C2-4B3B-982A-14253F89FEF6}"/>
              </a:ext>
            </a:extLst>
          </p:cNvPr>
          <p:cNvSpPr txBox="1"/>
          <p:nvPr userDrawn="1"/>
        </p:nvSpPr>
        <p:spPr>
          <a:xfrm>
            <a:off x="1295400" y="1315369"/>
            <a:ext cx="2438400" cy="445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spc="90" baseline="0" dirty="0">
                <a:solidFill>
                  <a:schemeClr val="accent1"/>
                </a:solidFill>
              </a:rPr>
              <a:t>TABLE OF CONTENTS</a:t>
            </a:r>
          </a:p>
          <a:p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0DFE93-875A-45A0-A3B9-CB3D0929D639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DA0887-A84B-4E3E-A84F-94A32B958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46B72F78-E67D-4858-9E25-35035A8C0C8E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97A1EC5-6BD5-4BCF-8F19-5E8EB5D0F7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0600" y="1600200"/>
            <a:ext cx="9287256" cy="3886200"/>
          </a:xfrm>
          <a:prstGeom prst="rect">
            <a:avLst/>
          </a:prstGeom>
        </p:spPr>
        <p:txBody>
          <a:bodyPr/>
          <a:lstStyle>
            <a:lvl1pPr marL="341313" indent="-341313">
              <a:lnSpc>
                <a:spcPct val="160000"/>
              </a:lnSpc>
              <a:buClr>
                <a:schemeClr val="accent1"/>
              </a:buClr>
              <a:buSzPct val="45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1pPr>
            <a:lvl2pPr marL="791596" indent="-514350">
              <a:buClr>
                <a:schemeClr val="accent1"/>
              </a:buClr>
              <a:buSzPct val="32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2pPr>
            <a:lvl3pPr marL="1068842" indent="-514350">
              <a:buClr>
                <a:schemeClr val="accent1"/>
              </a:buClr>
              <a:buSzPct val="32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3pPr>
            <a:lvl4pPr marL="1346088" indent="-514350">
              <a:buClr>
                <a:schemeClr val="accent1"/>
              </a:buClr>
              <a:buSzPct val="32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4pPr>
            <a:lvl5pPr marL="1623335" indent="-514350">
              <a:buClr>
                <a:schemeClr val="accent1"/>
              </a:buClr>
              <a:buSzPct val="32000"/>
              <a:buFont typeface="+mj-lt"/>
              <a:buAutoNum type="arabicPeriod"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84289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>
            <a:extLst>
              <a:ext uri="{FF2B5EF4-FFF2-40B4-BE49-F238E27FC236}">
                <a16:creationId xmlns:a16="http://schemas.microsoft.com/office/drawing/2014/main" id="{1B232DD8-F718-4718-B430-6945CF024AD8}"/>
              </a:ext>
            </a:extLst>
          </p:cNvPr>
          <p:cNvSpPr/>
          <p:nvPr userDrawn="1"/>
        </p:nvSpPr>
        <p:spPr>
          <a:xfrm flipV="1">
            <a:off x="533400" y="1981200"/>
            <a:ext cx="128016" cy="128016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29F04D-5D38-4A3E-9605-E4323985707B}"/>
              </a:ext>
            </a:extLst>
          </p:cNvPr>
          <p:cNvSpPr/>
          <p:nvPr userDrawn="1"/>
        </p:nvSpPr>
        <p:spPr>
          <a:xfrm>
            <a:off x="6172201" y="0"/>
            <a:ext cx="5508266" cy="6858000"/>
          </a:xfrm>
          <a:prstGeom prst="rect">
            <a:avLst/>
          </a:prstGeom>
          <a:solidFill>
            <a:srgbClr val="1915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3C1A0554-AA4A-4220-B4C1-C0D9B465C40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72199" y="0"/>
            <a:ext cx="5519182" cy="6857999"/>
          </a:xfrm>
          <a:prstGeom prst="rect">
            <a:avLst/>
          </a:prstGeom>
        </p:spPr>
        <p:txBody>
          <a:bodyPr anchor="ctr"/>
          <a:lstStyle>
            <a:lvl1pPr algn="ctr">
              <a:defRPr i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F331A887-3D10-4832-AF4C-4FEE1170748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33400" y="2291889"/>
            <a:ext cx="8763000" cy="838200"/>
          </a:xfrm>
          <a:prstGeom prst="rect">
            <a:avLst/>
          </a:prstGeom>
        </p:spPr>
        <p:txBody>
          <a:bodyPr lIns="0" tIns="0" rIns="0" bIns="0"/>
          <a:lstStyle>
            <a:lvl1pPr>
              <a:defRPr sz="6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Uni-directional</a:t>
            </a:r>
          </a:p>
          <a:p>
            <a:pPr lvl="0"/>
            <a:r>
              <a:rPr lang="en-US" dirty="0"/>
              <a:t>seq timel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CDDC3B-85DA-423D-974A-985CB1FC5FD3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447EFC-9B79-4A43-9617-2B8F509C71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0E7F438D-15CC-4369-8639-33DC07682206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6388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>
            <a:extLst>
              <a:ext uri="{FF2B5EF4-FFF2-40B4-BE49-F238E27FC236}">
                <a16:creationId xmlns:a16="http://schemas.microsoft.com/office/drawing/2014/main" id="{1B232DD8-F718-4718-B430-6945CF024AD8}"/>
              </a:ext>
            </a:extLst>
          </p:cNvPr>
          <p:cNvSpPr/>
          <p:nvPr userDrawn="1"/>
        </p:nvSpPr>
        <p:spPr>
          <a:xfrm flipV="1">
            <a:off x="533400" y="1981200"/>
            <a:ext cx="128016" cy="128016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020940-DDCA-4DED-8669-D6C33CB4778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33400" y="2379453"/>
            <a:ext cx="9601200" cy="838200"/>
          </a:xfrm>
          <a:prstGeom prst="rect">
            <a:avLst/>
          </a:prstGeom>
        </p:spPr>
        <p:txBody>
          <a:bodyPr lIns="0" tIns="0" rIns="0" bIns="0"/>
          <a:lstStyle>
            <a:lvl1pPr>
              <a:defRPr sz="4800" b="1" spc="1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ioritized regenerative practice pipe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F1AFCA-0210-47D1-BD5C-3DDE53138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3400" y="4229736"/>
            <a:ext cx="5111750" cy="900113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 if needed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BCD444-3539-4D13-A38F-3D17CEDF1372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40AD0BC-FF87-4659-9142-012171659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0F32B1D-094B-4A98-8A00-FA66FDB90C49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4104C6-0406-40A1-9E13-759FB2EDA3BA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2096948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>
            <a:extLst>
              <a:ext uri="{FF2B5EF4-FFF2-40B4-BE49-F238E27FC236}">
                <a16:creationId xmlns:a16="http://schemas.microsoft.com/office/drawing/2014/main" id="{1B232DD8-F718-4718-B430-6945CF024AD8}"/>
              </a:ext>
            </a:extLst>
          </p:cNvPr>
          <p:cNvSpPr/>
          <p:nvPr userDrawn="1"/>
        </p:nvSpPr>
        <p:spPr>
          <a:xfrm flipV="1">
            <a:off x="533400" y="1981200"/>
            <a:ext cx="128016" cy="128016"/>
          </a:xfrm>
          <a:prstGeom prst="rtTriangl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020940-DDCA-4DED-8669-D6C33CB4778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33400" y="2379453"/>
            <a:ext cx="9601200" cy="838200"/>
          </a:xfrm>
          <a:prstGeom prst="rect">
            <a:avLst/>
          </a:prstGeom>
        </p:spPr>
        <p:txBody>
          <a:bodyPr lIns="0" tIns="0" rIns="0" bIns="0"/>
          <a:lstStyle>
            <a:lvl1pPr>
              <a:defRPr sz="4800" b="1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ssessment of impact </a:t>
            </a:r>
          </a:p>
          <a:p>
            <a:pPr lvl="0"/>
            <a:r>
              <a:rPr lang="en-US" dirty="0"/>
              <a:t>and gap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BB30B04-05A7-4144-8438-BA33CFFE10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3400" y="4229736"/>
            <a:ext cx="5111750" cy="900113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 if needed goes he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B1BCC43-655A-440B-BAE6-A99C82F385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5F58AAC-7074-48FC-A8E8-13FA43909947}"/>
              </a:ext>
            </a:extLst>
          </p:cNvPr>
          <p:cNvSpPr/>
          <p:nvPr userDrawn="1"/>
        </p:nvSpPr>
        <p:spPr>
          <a:xfrm>
            <a:off x="11682237" y="0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6D31FFC-F892-41CB-A540-F3E0B357D9D6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3B24142-264E-45C6-852A-3358C1C6649F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5365452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Headline + Tex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389012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361E27-705C-4B3D-978B-5CE7B8BD2F12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8B8EF61-B20A-4DA5-AA49-9945090296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02A83C9-D116-4B38-A7AB-34DCDFF58E2A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7D325C71-E160-40A2-AB12-73763EBF1B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530" y="1143000"/>
            <a:ext cx="9900870" cy="5334000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68303B-FDA4-458B-AB2B-5F75652BC47A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1400317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93BEA-4AE6-5F9C-1873-32A99B2FF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5CE780-52E5-1E26-D2C2-E311E0587B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71E5FB-3862-6D0F-5A50-713A0FB22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C0F9AE-B040-C991-3DDE-3652B8641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8F3B67-56CC-0B7C-D093-6E71BD06E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821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Headline + Tex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389012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lide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175910C-ACC9-4EF9-99AD-11B4B6C19D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4C79B22-8783-441B-A1B4-DA2BF9E7BBA3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5839E528-E66B-4382-A737-7FEFFB8A08F9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CB256AE8-8B84-46D7-9FAF-D19372DDEC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1143000"/>
            <a:ext cx="9906000" cy="5334001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 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 err="1"/>
              <a:t>Asdlfkj;lkj</a:t>
            </a:r>
            <a:r>
              <a:rPr lang="en-US" dirty="0"/>
              <a:t> </a:t>
            </a:r>
            <a:r>
              <a:rPr lang="en-US" dirty="0" err="1"/>
              <a:t>sadfljlknf</a:t>
            </a:r>
            <a:endParaRPr lang="en-US" dirty="0"/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3703133-9CFA-4BDC-814F-DF7D263E775F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518635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 Content with highligh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906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22D6CCB-E51D-4C7B-B40C-5A72ED85DF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1995163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72DFAA-1837-4CFC-94E8-F45E5E985D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400" y="2332983"/>
            <a:ext cx="9906000" cy="1477017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Large body text 18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ut.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Diam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id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. </a:t>
            </a:r>
            <a:r>
              <a:rPr lang="en-US" dirty="0" err="1"/>
              <a:t>Dictumst</a:t>
            </a:r>
            <a:r>
              <a:rPr lang="en-US" dirty="0"/>
              <a:t> </a:t>
            </a: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EC0C29E4-2CF6-4C7B-ACAD-0CF55739F5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F9B5F1-C479-478A-8C46-95DF33978A1C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F133F9D-1BE7-43FF-99B2-6A17FB83DE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521D3D78-D709-4FEE-B27C-53164796DD0B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72B764F6-DAA7-4C43-A8BC-4F3652EC2F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530" y="3810000"/>
            <a:ext cx="9900870" cy="2667000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43CB51-A935-4256-BBBA-75A8CC6D8191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15417557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 Content with highligh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906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22D6CCB-E51D-4C7B-B40C-5A72ED85DF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2002783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3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72DFAA-1837-4CFC-94E8-F45E5E985D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400" y="2332983"/>
            <a:ext cx="9906000" cy="1477017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Large body text 18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ut.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Diam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id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. </a:t>
            </a:r>
            <a:r>
              <a:rPr lang="en-US" dirty="0" err="1"/>
              <a:t>Dictumst</a:t>
            </a:r>
            <a:r>
              <a:rPr lang="en-US" dirty="0"/>
              <a:t> </a:t>
            </a: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075F737-032B-4ACB-8588-5C80F9641D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531EC23-7046-4FC0-8A42-B4DE956879B3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5AF28006-9692-425F-8C54-611E3CBADDD8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454BF522-25D4-42F9-82F0-1C4E951EF2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7269494B-5206-4598-9DAB-39F5A98A8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817417"/>
            <a:ext cx="9906000" cy="2659584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 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 err="1"/>
              <a:t>Asdlfkj;lkj</a:t>
            </a:r>
            <a:r>
              <a:rPr lang="en-US" dirty="0"/>
              <a:t> </a:t>
            </a:r>
            <a:r>
              <a:rPr lang="en-US" dirty="0" err="1"/>
              <a:t>sadfljlknf</a:t>
            </a:r>
            <a:endParaRPr lang="en-US" dirty="0"/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7067F2-F756-4897-9A4A-C530023BCA8C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109315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 Conten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906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22D6CCB-E51D-4C7B-B40C-5A72ED85DF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2032000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947C6316-28A2-43C8-B26F-098C4AD46E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361E27-705C-4B3D-978B-5CE7B8BD2F12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8B8EF61-B20A-4DA5-AA49-9945090296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02A83C9-D116-4B38-A7AB-34DCDFF58E2A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7D325C71-E160-40A2-AB12-73763EBF1B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530" y="2362200"/>
            <a:ext cx="9900870" cy="4114800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68303B-FDA4-458B-AB2B-5F75652BC47A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1548314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 Conten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906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22D6CCB-E51D-4C7B-B40C-5A72ED85DF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2032000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3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175910C-ACC9-4EF9-99AD-11B4B6C19D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4C79B22-8783-441B-A1B4-DA2BF9E7BBA3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5839E528-E66B-4382-A737-7FEFFB8A08F9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6D4CDB38-0FA7-416F-B859-71B9747B90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CB256AE8-8B84-46D7-9FAF-D19372DDEC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2362200"/>
            <a:ext cx="9906000" cy="4114801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 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 err="1"/>
              <a:t>Asdlfkj;lkj</a:t>
            </a:r>
            <a:r>
              <a:rPr lang="en-US" dirty="0"/>
              <a:t> </a:t>
            </a:r>
            <a:r>
              <a:rPr lang="en-US" dirty="0" err="1"/>
              <a:t>sadfljlknf</a:t>
            </a:r>
            <a:endParaRPr lang="en-US" dirty="0"/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3703133-9CFA-4BDC-814F-DF7D263E775F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3643690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BC8385F7-FC85-476F-AE4A-5FBC2BE92F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84621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EB43A953-6B0F-4F2B-88F1-0ED77ED707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0" y="2161714"/>
            <a:ext cx="4038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5CC073C9-6250-4F8B-BA20-9FE9C0B14A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399" y="1524001"/>
            <a:ext cx="6130390" cy="598487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vit.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53116D-30A5-4A25-9461-ED8F4A043AD5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1EB8EDB-5041-442C-94BF-9A25939407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6D06D9D-E52E-4135-AF21-6F93D0AE4445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DCACB697-E8AD-46A8-A430-49E09EB52E9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33400" y="2122488"/>
            <a:ext cx="6130390" cy="4057724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CE1FB684-5D4F-49CC-AB0F-E8B3AC4D23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8A4751A1-449D-4696-92F2-443C29A2D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22850" y="2491913"/>
            <a:ext cx="4049950" cy="3688299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B59D1-4A6E-481F-AD16-CB63EC54A80A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 </a:t>
            </a:r>
          </a:p>
        </p:txBody>
      </p:sp>
    </p:spTree>
    <p:extLst>
      <p:ext uri="{BB962C8B-B14F-4D97-AF65-F5344CB8AC3E}">
        <p14:creationId xmlns:p14="http://schemas.microsoft.com/office/powerpoint/2010/main" val="26109573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BC8385F7-FC85-476F-AE4A-5FBC2BE92F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84621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EB43A953-6B0F-4F2B-88F1-0ED77ED707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0" y="2161714"/>
            <a:ext cx="4038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3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5CC073C9-6250-4F8B-BA20-9FE9C0B14A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399" y="1524001"/>
            <a:ext cx="6130390" cy="598487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Lorem ipsum dolor sit vit. 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DCACB697-E8AD-46A8-A430-49E09EB52E9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33400" y="2122488"/>
            <a:ext cx="6130390" cy="4057724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CE1FB684-5D4F-49CC-AB0F-E8B3AC4D23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8A4751A1-449D-4696-92F2-443C29A2D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22850" y="2491913"/>
            <a:ext cx="4049950" cy="3688299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lang="en-US" sz="1600" b="0" i="0" u="none" strike="noStrik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/>
              <a:t>Third level bulle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92D7B2E-6CED-4921-ADFE-DCFAF386C8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3E05D93-EDDC-47A7-81EE-788BF0CAC3A4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2">
            <a:extLst>
              <a:ext uri="{FF2B5EF4-FFF2-40B4-BE49-F238E27FC236}">
                <a16:creationId xmlns:a16="http://schemas.microsoft.com/office/drawing/2014/main" id="{EAD66CB9-1806-4AC6-8F40-986E2EFD62C9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574AB1-6C6E-4452-AC64-7C2E74434B8E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24836250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72DFAA-1837-4CFC-94E8-F45E5E985D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400" y="1189983"/>
            <a:ext cx="9906000" cy="526095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 20 </a:t>
            </a:r>
            <a:r>
              <a:rPr lang="en-US" dirty="0" err="1"/>
              <a:t>p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6AC0B098-9B85-4F07-9BBD-4D2947FFF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52609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iusmod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D2F92EC-91C5-4851-A3A6-A38C2B520C2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123688" y="2122488"/>
            <a:ext cx="6306312" cy="41068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FF359F9F-B6D1-4382-B6CE-12B890E9B9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E2DBF1C2-4984-4F11-9E1D-A57D88E208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2161714"/>
            <a:ext cx="4038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0324BD-E7A8-4CF6-922E-C009DE42D29B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BE27836-7CA3-4975-9A5D-13B7914200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B4C0467-69DA-4C30-BE44-CF2288553F85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6C1F4D8A-0FB4-4502-B7F0-41570C3C8F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3399" y="2491914"/>
            <a:ext cx="4038600" cy="3985086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05A8816-67FC-4EF5-B020-0FF8991C5625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9267833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72DFAA-1837-4CFC-94E8-F45E5E985D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400" y="1189983"/>
            <a:ext cx="9906000" cy="526095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head 20 </a:t>
            </a:r>
            <a:r>
              <a:rPr lang="en-US" dirty="0" err="1"/>
              <a:t>p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6AC0B098-9B85-4F07-9BBD-4D2947FFF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52609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iusmod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E50334-383E-4A39-8819-0BF14CC22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1756216-B036-4E63-A45D-E4BB3434B8BB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EACB31DA-BD2F-408D-BE95-0EB9E0783A1B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D2F92EC-91C5-4851-A3A6-A38C2B520C2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123688" y="2122488"/>
            <a:ext cx="6306312" cy="41068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FF359F9F-B6D1-4382-B6CE-12B890E9B9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E2DBF1C2-4984-4F11-9E1D-A57D88E208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2161714"/>
            <a:ext cx="4038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3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9368D0E5-A3F6-4DA7-8CE9-F7F766D754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3401" y="2499259"/>
            <a:ext cx="4089670" cy="3730091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3A44067-414D-4507-A9D0-F6B9A046CD87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7006362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+tex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B87ADD6-5448-4A34-A7F2-7D28389DF743}"/>
              </a:ext>
            </a:extLst>
          </p:cNvPr>
          <p:cNvSpPr/>
          <p:nvPr userDrawn="1"/>
        </p:nvSpPr>
        <p:spPr>
          <a:xfrm>
            <a:off x="6172200" y="0"/>
            <a:ext cx="5511800" cy="6858000"/>
          </a:xfrm>
          <a:prstGeom prst="rect">
            <a:avLst/>
          </a:prstGeom>
          <a:solidFill>
            <a:srgbClr val="1915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22412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22D6CCB-E51D-4C7B-B40C-5A72ED85DF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4157592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38320B07-4206-482E-B45D-23DED62081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99250" y="4157592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A5A0F258-6D92-4807-9A86-4FDA8259F1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99250" y="4487791"/>
            <a:ext cx="4572000" cy="131808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 i="0" u="none" strike="noStrike" spc="0" baseline="0" dirty="0">
                <a:solidFill>
                  <a:schemeClr val="bg1"/>
                </a:solidFill>
                <a:effectLst/>
              </a:defRPr>
            </a:lvl1pPr>
          </a:lstStyle>
          <a:p>
            <a:pPr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B51B015A-CA34-4574-8AB6-B2A0ED3A45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400" y="4487791"/>
            <a:ext cx="4572000" cy="1318084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648BC7-3C16-4F94-AC8A-9C3EC6005D49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9257358-9299-4A94-BC48-4D10700712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94ABD09A-4BA6-4059-B4FA-416AB2FCF3FB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387ECDF-EC74-45A7-991C-4BC043CCAAA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27050" y="1752600"/>
            <a:ext cx="4578350" cy="23822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A370C7D-E3EB-48A8-B690-6126ABDE7BB7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699250" y="1765634"/>
            <a:ext cx="4578350" cy="23822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6B147DD9-F8C8-4F75-AA3A-754F8753BC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9618" y="6492240"/>
            <a:ext cx="4953557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538D82F-4CFB-47D8-957D-8B37D2A0108B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1046276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DB727-6E02-FEF3-229E-ACB7CFA5E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B9D7A5-5DC7-3337-B2E1-26A493153E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C36E3D-E3A3-E0BC-D671-4DE683220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6396E-F062-21B6-C1F5-F46BB12388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8D118-932B-B2C0-697D-FAA1FF3CB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5912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+tex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22412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22D6CCB-E51D-4C7B-B40C-5A72ED85DF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4157592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3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38320B07-4206-482E-B45D-23DED62081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99250" y="4157592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3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A5A0F258-6D92-4807-9A86-4FDA8259F1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99250" y="4465108"/>
            <a:ext cx="4572000" cy="1318084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B51B015A-CA34-4574-8AB6-B2A0ED3A45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400" y="4465108"/>
            <a:ext cx="4572000" cy="1318084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865F755-C91E-4669-8E76-64E22251DE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B5BEC95-E8D1-4661-93DC-CD3E52DBE026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EF26A4F7-475B-465B-BA82-6DA0B881C7E8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8D29D55-B9DF-4C15-BE4F-1775C77D494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27050" y="1752600"/>
            <a:ext cx="4578350" cy="23822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4A9EAADF-60D7-4914-A2C5-78706875855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699250" y="1765634"/>
            <a:ext cx="4578350" cy="23822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E86783AC-CC82-4CE7-AA8D-0BFA5D82E46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9618" y="6492240"/>
            <a:ext cx="4953557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B6A0C7-9D8A-4973-968D-778912DCD66E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3630377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+tex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22412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22D6CCB-E51D-4C7B-B40C-5A72ED85DF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2139666"/>
            <a:ext cx="2895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 Area 1</a:t>
            </a:r>
          </a:p>
        </p:txBody>
      </p:sp>
      <p:sp>
        <p:nvSpPr>
          <p:cNvPr id="11" name="Text Placeholder 26">
            <a:extLst>
              <a:ext uri="{FF2B5EF4-FFF2-40B4-BE49-F238E27FC236}">
                <a16:creationId xmlns:a16="http://schemas.microsoft.com/office/drawing/2014/main" id="{6586EF58-E277-4C9F-9CB9-1D36CB0647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9600" y="2133600"/>
            <a:ext cx="2895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bg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 Area  2</a:t>
            </a:r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989C08D9-655F-40DB-B996-13C477C4BA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29600" y="2133600"/>
            <a:ext cx="2895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2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 Area 3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DE8875EC-4C17-433E-906C-6AEB83992E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3893" y="2490558"/>
            <a:ext cx="2890685" cy="1318084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4" name="Text Placeholder 31">
            <a:extLst>
              <a:ext uri="{FF2B5EF4-FFF2-40B4-BE49-F238E27FC236}">
                <a16:creationId xmlns:a16="http://schemas.microsoft.com/office/drawing/2014/main" id="{7B624CF7-63AC-4E4A-884E-A935B98406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3400" y="2493829"/>
            <a:ext cx="2890685" cy="1316736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90FB13F2-735E-43B1-8A16-F85AFDC2C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34515" y="2482390"/>
            <a:ext cx="2890685" cy="1318084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6B4BD48-9C55-4517-A4A1-1906895D3272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C64FA28-F6D3-44AB-9CFC-0BCC8FA6C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A3C36191-3081-41C8-9860-9EA67FC375E5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AD6B2FEF-369C-401B-AE67-6756199E7F7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27050" y="3830726"/>
            <a:ext cx="2897035" cy="234752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C31CA919-866F-49BA-A0E9-58A6685E4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407543" y="3830726"/>
            <a:ext cx="2897035" cy="234752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1769B606-96DE-460E-8405-8902149B2A71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229600" y="3830726"/>
            <a:ext cx="2897035" cy="234752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2EA29B0A-C0D5-4837-A905-E6A45286961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5AB8298-9F0E-4F70-A0AC-EFC18401577A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8190353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+tex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22412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C74028C4-9219-49DB-8938-E54CD804BE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2139666"/>
            <a:ext cx="2895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 Area 1</a:t>
            </a: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AF606AE2-F435-41A6-93FC-82120CC7A2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9600" y="2133600"/>
            <a:ext cx="2895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tx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 Area  2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8F8037C5-17A6-44C4-86A4-C512A265AA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29600" y="2133600"/>
            <a:ext cx="2895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2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 Area 3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D2E316D3-0E29-4C44-9048-AC656308B0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3893" y="2490558"/>
            <a:ext cx="2890685" cy="1318084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7" name="Text Placeholder 31">
            <a:extLst>
              <a:ext uri="{FF2B5EF4-FFF2-40B4-BE49-F238E27FC236}">
                <a16:creationId xmlns:a16="http://schemas.microsoft.com/office/drawing/2014/main" id="{43D2364D-E255-4C49-8BDD-110E7E235B7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3400" y="2514600"/>
            <a:ext cx="2890685" cy="1318084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4B8D4306-6708-47B5-87E1-B4A71E4B16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34515" y="2482390"/>
            <a:ext cx="2890685" cy="1318084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C3B4914-0BA4-4695-B78B-A45F472994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5219435-0630-4C28-ADCA-7BBC91C5FC7D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5838336-5637-410C-9611-C3299AC20576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63B4F5B0-6671-417A-AE20-86C7A5D762D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27050" y="3832684"/>
            <a:ext cx="2897035" cy="234752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C19E6D3F-FB1F-460A-9EB0-67B50978AF1E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407543" y="3832684"/>
            <a:ext cx="2897035" cy="234752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B2B02-6457-4F47-9B34-03D16CAA850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229600" y="3828769"/>
            <a:ext cx="2897035" cy="234752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 i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6C0B3868-738E-456F-A0F3-D1D926477AF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99F1DE-4D1E-41E7-ADA2-22511B70080D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14956280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Slide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02F9C9F-BF2D-4343-A4D4-C9A9BDAE2B18}"/>
              </a:ext>
            </a:extLst>
          </p:cNvPr>
          <p:cNvSpPr/>
          <p:nvPr userDrawn="1"/>
        </p:nvSpPr>
        <p:spPr>
          <a:xfrm>
            <a:off x="7162800" y="0"/>
            <a:ext cx="4521200" cy="6858000"/>
          </a:xfrm>
          <a:prstGeom prst="rect">
            <a:avLst/>
          </a:prstGeom>
          <a:solidFill>
            <a:srgbClr val="1915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336D1E-168C-4CE6-8C62-422AF5B58E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9979" y="2438400"/>
            <a:ext cx="5511801" cy="23622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3000" b="1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Gene Writing Arial 30 </a:t>
            </a:r>
            <a:r>
              <a:rPr lang="en-US" dirty="0" err="1"/>
              <a:t>pt</a:t>
            </a:r>
            <a:r>
              <a:rPr lang="en-US" dirty="0"/>
              <a:t> phrase with the rest </a:t>
            </a:r>
            <a:r>
              <a:rPr lang="en-US" dirty="0" err="1"/>
              <a:t>unbolded</a:t>
            </a:r>
            <a:endParaRPr lang="en-US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7FB45EA7-C22A-4931-AF2A-434E2C8C5F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1000" y="2438400"/>
            <a:ext cx="2895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 Area 1</a:t>
            </a: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812137D5-0526-430F-965E-62C8BD12C30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03674" y="2813334"/>
            <a:ext cx="2890685" cy="1987266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EE7B35-8CA4-4041-B1EB-C74629C3A715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5D5FF01-7AA5-49FB-83F3-32DD1258B2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C7430EDA-0574-42A8-8A8E-CB70D8DCC5E1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E629AFB-9150-4CE0-B975-42A6287CAF8C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1695456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slide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336D1E-168C-4CE6-8C62-422AF5B58E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9979" y="2438400"/>
            <a:ext cx="5511801" cy="24384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30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Gene Writing Arial 30 </a:t>
            </a:r>
            <a:r>
              <a:rPr lang="en-US" dirty="0" err="1"/>
              <a:t>pt</a:t>
            </a:r>
            <a:r>
              <a:rPr lang="en-US" dirty="0"/>
              <a:t> phrase with the rest </a:t>
            </a:r>
            <a:r>
              <a:rPr lang="en-US" dirty="0" err="1"/>
              <a:t>unbolded</a:t>
            </a:r>
            <a:endParaRPr lang="en-US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7FB45EA7-C22A-4931-AF2A-434E2C8C5F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3674" y="2438400"/>
            <a:ext cx="289560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3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 Area 1</a:t>
            </a: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812137D5-0526-430F-965E-62C8BD12C30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03674" y="2813334"/>
            <a:ext cx="2890685" cy="2063466"/>
          </a:xfrm>
          <a:prstGeom prst="rect">
            <a:avLst/>
          </a:prstGeo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0" i="0" u="none" strike="noStrike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37EB34A-D449-4D82-9903-5C6D9AB98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34E0B8E-964A-4A32-9308-95DE8D078662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12823FBD-BB74-4959-8534-7CDD809ECB78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223E6F-8E64-4C38-8121-9D9F9C7D1357}"/>
              </a:ext>
            </a:extLst>
          </p:cNvPr>
          <p:cNvSpPr txBox="1"/>
          <p:nvPr userDrawn="1"/>
        </p:nvSpPr>
        <p:spPr>
          <a:xfrm>
            <a:off x="526575" y="6491582"/>
            <a:ext cx="4819381" cy="2031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" b="1" kern="0" cap="all" spc="9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5493290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98004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+ bullet list magenta o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D6E4B83-CBBB-4040-9097-5F87C79DB4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77788"/>
            <a:ext cx="9906000" cy="9906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lide title 25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33400" y="381000"/>
            <a:ext cx="10972800" cy="276999"/>
          </a:xfrm>
          <a:prstGeom prst="rect">
            <a:avLst/>
          </a:prstGeom>
        </p:spPr>
        <p:txBody>
          <a:bodyPr lIns="0" tIns="0" rIns="0" bIns="0"/>
          <a:lstStyle>
            <a:lvl1pPr>
              <a:defRPr sz="720" b="1" cap="all" spc="9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title goes here</a:t>
            </a:r>
            <a:endParaRPr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22D6CCB-E51D-4C7B-B40C-5A72ED85DF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2032000"/>
            <a:ext cx="4197350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 cap="all" spc="90" baseline="0">
                <a:solidFill>
                  <a:schemeClr val="accent1"/>
                </a:solidFill>
              </a:defRPr>
            </a:lvl1pPr>
            <a:lvl2pPr>
              <a:defRPr sz="1200" b="1" cap="all" baseline="0">
                <a:solidFill>
                  <a:schemeClr val="accent1"/>
                </a:solidFill>
              </a:defRPr>
            </a:lvl2pPr>
            <a:lvl3pPr>
              <a:defRPr sz="1200" b="1" cap="all" baseline="0">
                <a:solidFill>
                  <a:schemeClr val="accent1"/>
                </a:solidFill>
              </a:defRPr>
            </a:lvl3pPr>
            <a:lvl4pPr>
              <a:defRPr sz="1200" b="1" cap="all" baseline="0">
                <a:solidFill>
                  <a:schemeClr val="accent1"/>
                </a:solidFill>
              </a:defRPr>
            </a:lvl4pPr>
            <a:lvl5pPr>
              <a:defRPr sz="12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ntent heading 12pt bol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175910C-ACC9-4EF9-99AD-11B4B6C19D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827391" y="188844"/>
            <a:ext cx="228600" cy="578485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4C79B22-8783-441B-A1B4-DA2BF9E7BBA3}"/>
              </a:ext>
            </a:extLst>
          </p:cNvPr>
          <p:cNvSpPr/>
          <p:nvPr userDrawn="1"/>
        </p:nvSpPr>
        <p:spPr>
          <a:xfrm>
            <a:off x="11682237" y="-1"/>
            <a:ext cx="9144" cy="6857999"/>
          </a:xfrm>
          <a:prstGeom prst="rect">
            <a:avLst/>
          </a:prstGeom>
          <a:gradFill flip="none" rotWithShape="1">
            <a:gsLst>
              <a:gs pos="0">
                <a:srgbClr val="3023A5"/>
              </a:gs>
              <a:gs pos="100000">
                <a:srgbClr val="FE056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5839E528-E66B-4382-A737-7FEFFB8A08F9}"/>
              </a:ext>
            </a:extLst>
          </p:cNvPr>
          <p:cNvSpPr txBox="1">
            <a:spLocks/>
          </p:cNvSpPr>
          <p:nvPr userDrawn="1"/>
        </p:nvSpPr>
        <p:spPr>
          <a:xfrm>
            <a:off x="11682236" y="6486593"/>
            <a:ext cx="5097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2B3F716-B06F-C949-8F82-3B9A893D5D9E}" type="slidenum">
              <a:rPr lang="en-US" sz="900" smtClean="0">
                <a:solidFill>
                  <a:srgbClr val="050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900" dirty="0">
              <a:solidFill>
                <a:srgbClr val="050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6D4CDB38-0FA7-416F-B859-71B9747B90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7922" y="6492240"/>
            <a:ext cx="6185254" cy="365760"/>
          </a:xfrm>
          <a:prstGeom prst="rect">
            <a:avLst/>
          </a:prstGeom>
        </p:spPr>
        <p:txBody>
          <a:bodyPr bIns="210312" anchor="b"/>
          <a:lstStyle>
            <a:lvl1pPr>
              <a:defRPr sz="7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 text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CB256AE8-8B84-46D7-9FAF-D19372DDEC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2362200"/>
            <a:ext cx="9906000" cy="4114801"/>
          </a:xfrm>
          <a:prstGeom prst="rect">
            <a:avLst/>
          </a:prstGeom>
        </p:spPr>
        <p:txBody>
          <a:bodyPr lIns="0" tIns="0" rIns="0" bIns="0"/>
          <a:lstStyle>
            <a:lvl1pPr marL="227013" marR="0" indent="-227013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en-US" sz="1600" b="0" i="0" u="none" strike="noStrik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27063" marR="0" indent="-165100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−"/>
              <a:tabLst/>
              <a:defRPr lang="en-US" sz="1600" b="0" i="0" u="none" strike="noStrike" spc="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090613" indent="-176213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952842" indent="-285750">
              <a:buFont typeface="Arial" panose="020B0604020202020204" pitchFamily="34" charset="0"/>
              <a:buChar char="∙"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Body text 16pt Lorem ipsum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o</a:t>
            </a:r>
            <a:r>
              <a:rPr lang="en-US" dirty="0"/>
              <a:t>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 level bullet </a:t>
            </a:r>
          </a:p>
          <a:p>
            <a:pPr lvl="1"/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dui id</a:t>
            </a:r>
          </a:p>
          <a:p>
            <a:pPr lvl="2"/>
            <a:r>
              <a:rPr lang="en-US" dirty="0" err="1"/>
              <a:t>Asdlfkj;lkj</a:t>
            </a:r>
            <a:r>
              <a:rPr lang="en-US" dirty="0"/>
              <a:t> </a:t>
            </a:r>
            <a:r>
              <a:rPr lang="en-US" dirty="0" err="1"/>
              <a:t>sadfljlknf</a:t>
            </a:r>
            <a:endParaRPr lang="en-US" dirty="0"/>
          </a:p>
          <a:p>
            <a:pPr lvl="2"/>
            <a:r>
              <a:rPr lang="en-US" dirty="0"/>
              <a:t>Thir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899041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823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9662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898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487D9-F8C7-97A5-E3D7-ACEA0F428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75ABBF-9E5A-5AFE-6990-B33B38D889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21C57F-6803-027C-CDBA-E99D6D997A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095EAC-DFA8-C10F-62AC-9605B9F9C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80EE3B-8854-D5E0-10FA-98DAB725D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D8B99A-9D15-3575-5A2E-DCFE2CA74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4125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530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2253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437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4200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0966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5691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745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8208555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8970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77223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B4C188-AB1D-193A-D950-DB4ECCB93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FB8EEA-6C9A-FAFB-7636-6BB0235FC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C9EB2B-78A9-90AF-8C77-AC5F760B5F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3AA17F-44E4-6E95-C214-79333DC8AF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D68091-FC92-3888-AAA7-955F8611C2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4FA131-8A02-80A5-71C0-D8EF70E36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EFE483-0FDB-8C2B-7E49-81222EF5F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78BBCE-1E9A-FA6F-1B6C-8FB268DC3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6853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291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5610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3494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7B595-EA0B-F4EC-8779-5A90D7FF0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169EC63-08D2-CA65-685C-128FC702B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4174A7-F72F-8BA8-2F56-DBC7990CF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A4B350-BA6F-AB53-E0E1-83A3E5152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948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B9B2FA-141B-72C3-3038-E894E6502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7C0233-0C5B-0247-2572-6B84240CD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FC0AE-0350-3B51-DD6F-15A30D4E6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05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BCF62-3CCA-A025-0314-930C51617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F5A221-593B-9CD7-D616-E52660EFD7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C81CE1-6021-9CD4-678D-FDD6C6CB88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96B54F-9134-A5EA-D346-4445BB729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B90B4-4784-68E4-4302-BD53BDDF3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AC09DF-E586-E39A-B404-A91E8BA3A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529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151E9-F7A9-3A55-9233-51268897F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D9C96A-7632-919B-FF3F-EB11B2EA19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C3EC61-10AF-0F7D-C7C6-F38284BAD2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651DF1-2024-9FF8-9259-3AD48231E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F6C9B1-A99F-181D-0C0B-F4ABF2EFF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2201E5-058B-BEA5-6293-6C8EFEF0F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011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2FD055-43C0-E121-BE32-635E56FE4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449D52-E95B-ACE6-BEBC-61A280A71A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E2951-8B20-4DF2-DAF3-533594454A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28FA-F540-4CBC-9863-B35D8555B063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F04D01-2828-78BF-BB8F-AE2713949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936EC-E89A-22B6-F92B-363356A811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5EC48-3915-451D-A7D1-14D28A1091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869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1565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277246" eaLnBrk="1" hangingPunct="1">
        <a:defRPr>
          <a:latin typeface="+mn-lt"/>
          <a:ea typeface="+mn-ea"/>
          <a:cs typeface="+mn-cs"/>
        </a:defRPr>
      </a:lvl2pPr>
      <a:lvl3pPr marL="554492" eaLnBrk="1" hangingPunct="1">
        <a:defRPr>
          <a:latin typeface="+mn-lt"/>
          <a:ea typeface="+mn-ea"/>
          <a:cs typeface="+mn-cs"/>
        </a:defRPr>
      </a:lvl3pPr>
      <a:lvl4pPr marL="831738" eaLnBrk="1" hangingPunct="1">
        <a:defRPr>
          <a:latin typeface="+mn-lt"/>
          <a:ea typeface="+mn-ea"/>
          <a:cs typeface="+mn-cs"/>
        </a:defRPr>
      </a:lvl4pPr>
      <a:lvl5pPr marL="1108985" eaLnBrk="1" hangingPunct="1">
        <a:defRPr>
          <a:latin typeface="+mn-lt"/>
          <a:ea typeface="+mn-ea"/>
          <a:cs typeface="+mn-cs"/>
        </a:defRPr>
      </a:lvl5pPr>
      <a:lvl6pPr marL="1386231" eaLnBrk="1" hangingPunct="1">
        <a:defRPr>
          <a:latin typeface="+mn-lt"/>
          <a:ea typeface="+mn-ea"/>
          <a:cs typeface="+mn-cs"/>
        </a:defRPr>
      </a:lvl6pPr>
      <a:lvl7pPr marL="1663477" eaLnBrk="1" hangingPunct="1">
        <a:defRPr>
          <a:latin typeface="+mn-lt"/>
          <a:ea typeface="+mn-ea"/>
          <a:cs typeface="+mn-cs"/>
        </a:defRPr>
      </a:lvl7pPr>
      <a:lvl8pPr marL="1940723" eaLnBrk="1" hangingPunct="1">
        <a:defRPr>
          <a:latin typeface="+mn-lt"/>
          <a:ea typeface="+mn-ea"/>
          <a:cs typeface="+mn-cs"/>
        </a:defRPr>
      </a:lvl8pPr>
      <a:lvl9pPr marL="221796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46" eaLnBrk="1" hangingPunct="1">
        <a:defRPr>
          <a:latin typeface="+mn-lt"/>
          <a:ea typeface="+mn-ea"/>
          <a:cs typeface="+mn-cs"/>
        </a:defRPr>
      </a:lvl2pPr>
      <a:lvl3pPr marL="554492" eaLnBrk="1" hangingPunct="1">
        <a:defRPr>
          <a:latin typeface="+mn-lt"/>
          <a:ea typeface="+mn-ea"/>
          <a:cs typeface="+mn-cs"/>
        </a:defRPr>
      </a:lvl3pPr>
      <a:lvl4pPr marL="831738" eaLnBrk="1" hangingPunct="1">
        <a:defRPr>
          <a:latin typeface="+mn-lt"/>
          <a:ea typeface="+mn-ea"/>
          <a:cs typeface="+mn-cs"/>
        </a:defRPr>
      </a:lvl4pPr>
      <a:lvl5pPr marL="1108985" eaLnBrk="1" hangingPunct="1">
        <a:defRPr>
          <a:latin typeface="+mn-lt"/>
          <a:ea typeface="+mn-ea"/>
          <a:cs typeface="+mn-cs"/>
        </a:defRPr>
      </a:lvl5pPr>
      <a:lvl6pPr marL="1386231" eaLnBrk="1" hangingPunct="1">
        <a:defRPr>
          <a:latin typeface="+mn-lt"/>
          <a:ea typeface="+mn-ea"/>
          <a:cs typeface="+mn-cs"/>
        </a:defRPr>
      </a:lvl6pPr>
      <a:lvl7pPr marL="1663477" eaLnBrk="1" hangingPunct="1">
        <a:defRPr>
          <a:latin typeface="+mn-lt"/>
          <a:ea typeface="+mn-ea"/>
          <a:cs typeface="+mn-cs"/>
        </a:defRPr>
      </a:lvl7pPr>
      <a:lvl8pPr marL="1940723" eaLnBrk="1" hangingPunct="1">
        <a:defRPr>
          <a:latin typeface="+mn-lt"/>
          <a:ea typeface="+mn-ea"/>
          <a:cs typeface="+mn-cs"/>
        </a:defRPr>
      </a:lvl8pPr>
      <a:lvl9pPr marL="221796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9383CD-CB48-48E7-9E46-FA43AD704156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EBB91FE-3553-4DFD-96CE-51254CA423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412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.xml"/><Relationship Id="rId6" Type="http://schemas.openxmlformats.org/officeDocument/2006/relationships/diagramData" Target="../diagrams/data1.xml"/><Relationship Id="rId5" Type="http://schemas.openxmlformats.org/officeDocument/2006/relationships/image" Target="../media/image9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520CE-17C7-46B3-9020-0659342DF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1448" y="2834611"/>
            <a:ext cx="8509103" cy="926020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>
                <a:latin typeface="Arial (Headings)"/>
              </a:rPr>
              <a:t>Anne-Virginie Eggimann, M. Sc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08A3E2-F170-49FF-8998-77909BEDB5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41448" y="3760631"/>
            <a:ext cx="8509103" cy="126913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b="1" dirty="0">
                <a:latin typeface="Arial (Headings)"/>
              </a:rPr>
              <a:t>Chief Regulatory Officer</a:t>
            </a:r>
          </a:p>
          <a:p>
            <a:pPr marL="0" indent="0" algn="ctr">
              <a:buNone/>
            </a:pPr>
            <a:r>
              <a:rPr lang="en-US" sz="2000" dirty="0" err="1">
                <a:latin typeface="Arial (Headings)"/>
              </a:rPr>
              <a:t>Tessera</a:t>
            </a:r>
            <a:r>
              <a:rPr lang="en-US" sz="2000" dirty="0">
                <a:latin typeface="Arial (Headings)"/>
              </a:rPr>
              <a:t> Therapeutics, Inc.</a:t>
            </a:r>
          </a:p>
          <a:p>
            <a:pPr marL="0" indent="0" algn="ctr">
              <a:buNone/>
            </a:pPr>
            <a:endParaRPr lang="en-US" sz="2000" dirty="0">
              <a:solidFill>
                <a:schemeClr val="accent5"/>
              </a:solidFill>
              <a:latin typeface="+mj-lt"/>
            </a:endParaRPr>
          </a:p>
          <a:p>
            <a:pPr marL="0" indent="0" algn="ctr">
              <a:buNone/>
            </a:pPr>
            <a:endParaRPr lang="en-US" sz="2400" dirty="0">
              <a:latin typeface="+mj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083100-C911-62B6-118B-53CDCBE29CD2}"/>
              </a:ext>
            </a:extLst>
          </p:cNvPr>
          <p:cNvSpPr txBox="1"/>
          <p:nvPr/>
        </p:nvSpPr>
        <p:spPr>
          <a:xfrm>
            <a:off x="3763057" y="88126"/>
            <a:ext cx="46658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Arial (Headings)"/>
              </a:rPr>
              <a:t>OPEN PUBLIC COMME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22B3AA-CF6F-2E3D-763C-9BEC1FC0AF79}"/>
              </a:ext>
            </a:extLst>
          </p:cNvPr>
          <p:cNvSpPr txBox="1"/>
          <p:nvPr/>
        </p:nvSpPr>
        <p:spPr>
          <a:xfrm>
            <a:off x="3048000" y="602061"/>
            <a:ext cx="609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/>
            <a:r>
              <a:rPr lang="en-US" sz="4400" b="1" dirty="0">
                <a:solidFill>
                  <a:srgbClr val="3A7897"/>
                </a:solidFill>
                <a:latin typeface="Arial (Headings)"/>
              </a:rPr>
              <a:t>Public Commenter</a:t>
            </a:r>
            <a:endParaRPr lang="en-US" sz="4400" b="1" dirty="0">
              <a:solidFill>
                <a:srgbClr val="3A7897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74037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FA5C8D7-86F2-8011-DE7A-23AC7E4E25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A5C8D7-86F2-8011-DE7A-23AC7E4E2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97325E3-F9C1-3FDC-A51B-32A5AA4AD4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8600" y="379017"/>
            <a:ext cx="9809747" cy="409045"/>
          </a:xfrm>
        </p:spPr>
        <p:txBody>
          <a:bodyPr/>
          <a:lstStyle/>
          <a:p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commendations for Meeting Management with Sponsors 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16256FA7-1268-6407-DB95-F5B5EF6C914B}"/>
              </a:ext>
            </a:extLst>
          </p:cNvPr>
          <p:cNvGraphicFramePr>
            <a:graphicFrameLocks noGrp="1"/>
          </p:cNvGraphicFramePr>
          <p:nvPr/>
        </p:nvGraphicFramePr>
        <p:xfrm>
          <a:off x="248653" y="1066800"/>
          <a:ext cx="9809747" cy="463978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9809747">
                  <a:extLst>
                    <a:ext uri="{9D8B030D-6E8A-4147-A177-3AD203B41FA5}">
                      <a16:colId xmlns:a16="http://schemas.microsoft.com/office/drawing/2014/main" val="3727461282"/>
                    </a:ext>
                  </a:extLst>
                </a:gridCol>
              </a:tblGrid>
              <a:tr h="561139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Shorten time from receipt of request to meeting 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and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 issue minutes in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sym typeface="Symbol" panose="05050102010706020507" pitchFamily="18" charset="2"/>
                        </a:rPr>
                        <a:t>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30 days </a:t>
                      </a:r>
                      <a:r>
                        <a:rPr lang="en-US" sz="1600" b="0" dirty="0"/>
                        <a:t>whenever feasible, especially for meetings where FDA responses are rate limiting for develop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6610533"/>
                  </a:ext>
                </a:extLst>
              </a:tr>
              <a:tr h="502071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Adhere to time allocated for Sponsors to review FDA preliminary responses</a:t>
                      </a:r>
                      <a:r>
                        <a:rPr lang="en-US" sz="1600" b="1" dirty="0"/>
                        <a:t> </a:t>
                      </a:r>
                      <a:r>
                        <a:rPr lang="en-US" sz="1600" dirty="0"/>
                        <a:t>prior to meetings</a:t>
                      </a:r>
                      <a:r>
                        <a:rPr lang="en-US" sz="1600" baseline="30000" dirty="0"/>
                        <a:t>1 </a:t>
                      </a:r>
                    </a:p>
                    <a:p>
                      <a:r>
                        <a:rPr lang="en-US" sz="12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o later than 5 calendar days before mtg for Type B (EOP), C, D, &amp; INTERACT; and no later than 2 calendar days for Type A and B [not EOP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2490226"/>
                  </a:ext>
                </a:extLst>
              </a:tr>
              <a:tr h="563031">
                <a:tc>
                  <a:txBody>
                    <a:bodyPr/>
                    <a:lstStyle/>
                    <a:p>
                      <a:r>
                        <a:rPr lang="en-US" sz="1600" b="1" dirty="0"/>
                        <a:t>Keep option to request either fully virtual, hybrid, or all in-person “face-to-face” meetings</a:t>
                      </a:r>
                    </a:p>
                    <a:p>
                      <a:r>
                        <a:rPr lang="en-US" sz="12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void granting teleconference or WRO (written response only) when sponsors asked for a “face-to-face” interaction</a:t>
                      </a:r>
                      <a:r>
                        <a:rPr lang="en-US" sz="120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2827059"/>
                  </a:ext>
                </a:extLst>
              </a:tr>
              <a:tr h="561139">
                <a:tc>
                  <a:txBody>
                    <a:bodyPr/>
                    <a:lstStyle/>
                    <a:p>
                      <a:r>
                        <a:rPr lang="en-US" sz="1600" dirty="0"/>
                        <a:t>Establish </a:t>
                      </a:r>
                      <a:r>
                        <a:rPr lang="en-US" sz="1600" b="1" dirty="0"/>
                        <a:t>cloud-based</a:t>
                      </a:r>
                      <a:r>
                        <a:rPr lang="en-US" sz="1600" dirty="0"/>
                        <a:t> ESG NextGen with capability to </a:t>
                      </a:r>
                      <a:r>
                        <a:rPr lang="en-US" sz="1600" b="1" dirty="0"/>
                        <a:t>track meeting process </a:t>
                      </a:r>
                      <a:r>
                        <a:rPr lang="en-US" sz="1600" dirty="0"/>
                        <a:t>(e.g., “received”, “reviewing”, “responded") and allow </a:t>
                      </a:r>
                      <a:r>
                        <a:rPr lang="en-US" sz="1600" b="1" dirty="0"/>
                        <a:t>efficient correspondence </a:t>
                      </a:r>
                      <a:r>
                        <a:rPr lang="en-US" sz="1600" dirty="0"/>
                        <a:t>between Sponsors and RPM &amp; Review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9523811"/>
                  </a:ext>
                </a:extLst>
              </a:tr>
              <a:tr h="503769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Allow opportunity to request </a:t>
                      </a:r>
                      <a:r>
                        <a:rPr lang="en-US" sz="1600" b="1" dirty="0"/>
                        <a:t>CMC-focused meetings </a:t>
                      </a:r>
                      <a:r>
                        <a:rPr lang="en-US" sz="1600" dirty="0"/>
                        <a:t>during development in addition to existing mtg typ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4051107"/>
                  </a:ext>
                </a:extLst>
              </a:tr>
              <a:tr h="51626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Create </a:t>
                      </a:r>
                      <a:r>
                        <a:rPr lang="en-US" sz="1600" b="1" dirty="0"/>
                        <a:t>standardized template for meeting requests using</a:t>
                      </a:r>
                      <a:r>
                        <a:rPr lang="en-US" sz="1600" dirty="0"/>
                        <a:t> electronic portal with </a:t>
                      </a:r>
                      <a:r>
                        <a:rPr lang="en-US" sz="1600" b="1" dirty="0"/>
                        <a:t>“intake form” </a:t>
                      </a:r>
                      <a:r>
                        <a:rPr lang="en-US" sz="1600" dirty="0"/>
                        <a:t>to streamline process and facilitate meeting date schedul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0795023"/>
                  </a:ext>
                </a:extLst>
              </a:tr>
              <a:tr h="39793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Actively support Communication Plans throughout development </a:t>
                      </a:r>
                      <a:r>
                        <a:rPr lang="en-US" sz="1600" dirty="0"/>
                        <a:t>for Breakthrough Therapy and RMAT designated products; ideally with senior staff involvement at least for EOP meet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9996677"/>
                  </a:ext>
                </a:extLst>
              </a:tr>
              <a:tr h="7383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Set maximum number of pages for briefing packages </a:t>
                      </a:r>
                      <a:r>
                        <a:rPr lang="en-US" sz="1600" dirty="0"/>
                        <a:t>(not including appendices)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is should help Sponsors be more concise, clear and dir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5622361"/>
                  </a:ext>
                </a:extLst>
              </a:tr>
            </a:tbl>
          </a:graphicData>
        </a:graphic>
      </p:graphicFrame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DDFA2A2-B48D-8C91-587D-F3E154EFCF68}"/>
              </a:ext>
            </a:extLst>
          </p:cNvPr>
          <p:cNvSpPr txBox="1">
            <a:spLocks/>
          </p:cNvSpPr>
          <p:nvPr/>
        </p:nvSpPr>
        <p:spPr>
          <a:xfrm>
            <a:off x="10058400" y="379016"/>
            <a:ext cx="1524000" cy="535383"/>
          </a:xfrm>
          <a:prstGeom prst="rect">
            <a:avLst/>
          </a:prstGeom>
        </p:spPr>
        <p:txBody>
          <a:bodyPr lIns="0" tIns="0" rIns="0" bIns="0"/>
          <a:lstStyle>
            <a:lvl1pPr marL="0" eaLnBrk="1" hangingPunct="1">
              <a:defRPr lang="en-US" sz="2500" b="1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7246" eaLnBrk="1" hangingPunct="1">
              <a:defRPr>
                <a:latin typeface="+mn-lt"/>
                <a:ea typeface="+mn-ea"/>
                <a:cs typeface="+mn-cs"/>
              </a:defRPr>
            </a:lvl2pPr>
            <a:lvl3pPr marL="554492" eaLnBrk="1" hangingPunct="1">
              <a:defRPr>
                <a:latin typeface="+mn-lt"/>
                <a:ea typeface="+mn-ea"/>
                <a:cs typeface="+mn-cs"/>
              </a:defRPr>
            </a:lvl3pPr>
            <a:lvl4pPr marL="831738" eaLnBrk="1" hangingPunct="1">
              <a:defRPr>
                <a:latin typeface="+mn-lt"/>
                <a:ea typeface="+mn-ea"/>
                <a:cs typeface="+mn-cs"/>
              </a:defRPr>
            </a:lvl4pPr>
            <a:lvl5pPr marL="1108985" eaLnBrk="1" hangingPunct="1"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6231" eaLnBrk="1" hangingPunct="1">
              <a:defRPr>
                <a:latin typeface="+mn-lt"/>
                <a:ea typeface="+mn-ea"/>
                <a:cs typeface="+mn-cs"/>
              </a:defRPr>
            </a:lvl6pPr>
            <a:lvl7pPr marL="1663477" eaLnBrk="1" hangingPunct="1">
              <a:defRPr>
                <a:latin typeface="+mn-lt"/>
                <a:ea typeface="+mn-ea"/>
                <a:cs typeface="+mn-cs"/>
              </a:defRPr>
            </a:lvl7pPr>
            <a:lvl8pPr marL="1940723" eaLnBrk="1" hangingPunct="1">
              <a:defRPr>
                <a:latin typeface="+mn-lt"/>
                <a:ea typeface="+mn-ea"/>
                <a:cs typeface="+mn-cs"/>
              </a:defRPr>
            </a:lvl8pPr>
            <a:lvl9pPr marL="2217969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006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imat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006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B3485C3-51B5-E449-1059-7796299D8567}"/>
              </a:ext>
            </a:extLst>
          </p:cNvPr>
          <p:cNvSpPr txBox="1">
            <a:spLocks/>
          </p:cNvSpPr>
          <p:nvPr/>
        </p:nvSpPr>
        <p:spPr>
          <a:xfrm>
            <a:off x="4495800" y="6477000"/>
            <a:ext cx="7162800" cy="533400"/>
          </a:xfrm>
          <a:prstGeom prst="rect">
            <a:avLst/>
          </a:prstGeom>
        </p:spPr>
        <p:txBody>
          <a:bodyPr bIns="210312" anchor="b"/>
          <a:lstStyle>
            <a:lvl1pPr marL="0" eaLnBrk="1" hangingPunct="1">
              <a:defRPr sz="700" i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7246" eaLnBrk="1" hangingPunct="1">
              <a:defRPr>
                <a:latin typeface="+mn-lt"/>
                <a:ea typeface="+mn-ea"/>
                <a:cs typeface="+mn-cs"/>
              </a:defRPr>
            </a:lvl2pPr>
            <a:lvl3pPr marL="554492" eaLnBrk="1" hangingPunct="1">
              <a:defRPr>
                <a:latin typeface="+mn-lt"/>
                <a:ea typeface="+mn-ea"/>
                <a:cs typeface="+mn-cs"/>
              </a:defRPr>
            </a:lvl3pPr>
            <a:lvl4pPr marL="831738" eaLnBrk="1" hangingPunct="1">
              <a:defRPr>
                <a:latin typeface="+mn-lt"/>
                <a:ea typeface="+mn-ea"/>
                <a:cs typeface="+mn-cs"/>
              </a:defRPr>
            </a:lvl4pPr>
            <a:lvl5pPr marL="1108985" eaLnBrk="1" hangingPunct="1">
              <a:defRPr>
                <a:latin typeface="+mn-lt"/>
                <a:ea typeface="+mn-ea"/>
                <a:cs typeface="+mn-cs"/>
              </a:defRPr>
            </a:lvl5pPr>
            <a:lvl6pPr marL="1386231" eaLnBrk="1" hangingPunct="1">
              <a:defRPr>
                <a:latin typeface="+mn-lt"/>
                <a:ea typeface="+mn-ea"/>
                <a:cs typeface="+mn-cs"/>
              </a:defRPr>
            </a:lvl6pPr>
            <a:lvl7pPr marL="1663477" eaLnBrk="1" hangingPunct="1">
              <a:defRPr>
                <a:latin typeface="+mn-lt"/>
                <a:ea typeface="+mn-ea"/>
                <a:cs typeface="+mn-cs"/>
              </a:defRPr>
            </a:lvl7pPr>
            <a:lvl8pPr marL="1940723" eaLnBrk="1" hangingPunct="1">
              <a:defRPr>
                <a:latin typeface="+mn-lt"/>
                <a:ea typeface="+mn-ea"/>
                <a:cs typeface="+mn-cs"/>
              </a:defRPr>
            </a:lvl8pPr>
            <a:lvl9pPr marL="2217969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0" cap="none" spc="0" normalizeH="0" baseline="30000" noProof="0" dirty="0">
                <a:ln>
                  <a:noFill/>
                </a:ln>
                <a:solidFill>
                  <a:srgbClr val="0503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</a:t>
            </a:r>
            <a:r>
              <a:rPr kumimoji="0" lang="en-US" sz="700" b="0" i="1" u="none" strike="noStrike" kern="0" cap="none" spc="0" normalizeH="0" baseline="0" noProof="0" dirty="0">
                <a:ln>
                  <a:noFill/>
                </a:ln>
                <a:solidFill>
                  <a:srgbClr val="0503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erence is made to “Formal Meetings between the FDA and Sponsors or Applicants of PDUFA Products” Draft Guidance for Indust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0" cap="none" spc="0" normalizeH="0" baseline="0" noProof="0" dirty="0">
                <a:ln>
                  <a:noFill/>
                </a:ln>
                <a:solidFill>
                  <a:srgbClr val="0503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OP = End of Phase; ESG Next Gen =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503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nic Submission Gateway Next Generation</a:t>
            </a:r>
            <a:r>
              <a:rPr kumimoji="0" lang="en-US" sz="700" b="1" i="1" u="none" strike="noStrike" kern="1200" cap="none" spc="0" normalizeH="0" baseline="0" noProof="0" dirty="0">
                <a:ln>
                  <a:noFill/>
                </a:ln>
                <a:solidFill>
                  <a:srgbClr val="0503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700" b="0" i="1" u="none" strike="noStrike" kern="0" cap="none" spc="0" normalizeH="0" baseline="0" noProof="0" dirty="0">
                <a:ln>
                  <a:noFill/>
                </a:ln>
                <a:solidFill>
                  <a:srgbClr val="0503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M = Regulatory Project Manager; </a:t>
            </a:r>
            <a:br>
              <a:rPr kumimoji="0" lang="en-US" sz="700" b="0" i="1" u="none" strike="noStrike" kern="0" cap="none" spc="0" normalizeH="0" baseline="0" noProof="0" dirty="0">
                <a:ln>
                  <a:noFill/>
                </a:ln>
                <a:solidFill>
                  <a:srgbClr val="0503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700" b="0" i="1" u="none" strike="noStrike" kern="0" cap="none" spc="0" normalizeH="0" baseline="0" noProof="0" dirty="0">
                <a:ln>
                  <a:noFill/>
                </a:ln>
                <a:solidFill>
                  <a:srgbClr val="0503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MAT = Regenerative Medicine Advanced Therapy Designation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67ADDE72-BF33-26CA-7065-A9AA917E8E3E}"/>
              </a:ext>
            </a:extLst>
          </p:cNvPr>
          <p:cNvGraphicFramePr/>
          <p:nvPr/>
        </p:nvGraphicFramePr>
        <p:xfrm>
          <a:off x="10058400" y="1066799"/>
          <a:ext cx="1600200" cy="5562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0A2CD793-A27D-FB20-A4E1-844D3FB94BF9}"/>
              </a:ext>
            </a:extLst>
          </p:cNvPr>
          <p:cNvSpPr txBox="1"/>
          <p:nvPr/>
        </p:nvSpPr>
        <p:spPr>
          <a:xfrm>
            <a:off x="10591800" y="5527953"/>
            <a:ext cx="685800" cy="10404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55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92" b="0" i="0" u="none" strike="noStrike" kern="1200" cap="none" spc="0" normalizeH="0" baseline="0" noProof="0" dirty="0">
              <a:ln>
                <a:noFill/>
              </a:ln>
              <a:solidFill>
                <a:srgbClr val="0503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5DE6719-16D5-325C-E1D5-56DC555EDB71}"/>
              </a:ext>
            </a:extLst>
          </p:cNvPr>
          <p:cNvSpPr txBox="1"/>
          <p:nvPr/>
        </p:nvSpPr>
        <p:spPr>
          <a:xfrm>
            <a:off x="0" y="5893713"/>
            <a:ext cx="11658600" cy="43088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55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 panose="02000000000000000000" pitchFamily="2" charset="0"/>
                <a:ea typeface="+mn-ea"/>
                <a:cs typeface="+mn-cs"/>
              </a:rPr>
              <a:t>Slide submitted for participation in the FDA Public Workshop titled  “Best Practices for Meeting Management Under PDUFA VII” on July 22, 2024.</a:t>
            </a:r>
          </a:p>
          <a:p>
            <a:pPr marL="0" marR="0" lvl="0" indent="0" algn="ctr" defTabSz="55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 panose="02000000000000000000" pitchFamily="2" charset="0"/>
                <a:ea typeface="+mn-ea"/>
                <a:cs typeface="+mn-cs"/>
              </a:rPr>
              <a:t>Submitted by Anne-Virginie Eggimann, M.Sc., Chief Regulatory Officer and Ivy Chen, Ph.D., Regulatory Strategy Manager – Tessera Therapeutics, Inc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D1C91F-473D-7B82-2DA5-3E2009C7D128}"/>
              </a:ext>
            </a:extLst>
          </p:cNvPr>
          <p:cNvSpPr txBox="1"/>
          <p:nvPr/>
        </p:nvSpPr>
        <p:spPr>
          <a:xfrm>
            <a:off x="11811000" y="4343400"/>
            <a:ext cx="228600" cy="17526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55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92" b="0" i="0" u="none" strike="noStrike" kern="1200" cap="none" spc="0" normalizeH="0" baseline="0" noProof="0" dirty="0">
              <a:ln>
                <a:noFill/>
              </a:ln>
              <a:solidFill>
                <a:srgbClr val="0503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2198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520CE-17C7-46B3-9020-0659342DF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1448" y="2834611"/>
            <a:ext cx="8509103" cy="926020"/>
          </a:xfrm>
        </p:spPr>
        <p:txBody>
          <a:bodyPr/>
          <a:lstStyle/>
          <a:p>
            <a:pPr algn="ctr"/>
            <a:r>
              <a:rPr lang="en-US" b="1" dirty="0">
                <a:latin typeface="Arial (Headings)"/>
              </a:rPr>
              <a:t>Marcia D. Howard, Ph.D., CA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08A3E2-F170-49FF-8998-77909BEDB5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41448" y="3760631"/>
            <a:ext cx="8509103" cy="126913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b="1" dirty="0">
                <a:latin typeface="Arial (Headings)"/>
              </a:rPr>
              <a:t>Vice President, Regulatory &amp; Scientific Affairs</a:t>
            </a:r>
          </a:p>
          <a:p>
            <a:pPr marL="0" indent="0" algn="ctr">
              <a:buNone/>
            </a:pPr>
            <a:r>
              <a:rPr lang="en-US" sz="2000" dirty="0">
                <a:latin typeface="Arial (Headings)"/>
              </a:rPr>
              <a:t>Consumer Healthcare Products Association</a:t>
            </a:r>
          </a:p>
          <a:p>
            <a:pPr marL="0" indent="0" algn="ctr">
              <a:buNone/>
            </a:pPr>
            <a:endParaRPr lang="en-US" sz="2000" dirty="0">
              <a:solidFill>
                <a:schemeClr val="accent5"/>
              </a:solidFill>
              <a:latin typeface="+mj-lt"/>
            </a:endParaRPr>
          </a:p>
          <a:p>
            <a:pPr marL="0" indent="0" algn="ctr">
              <a:buNone/>
            </a:pPr>
            <a:endParaRPr lang="en-US" sz="2400" dirty="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22B3AA-CF6F-2E3D-763C-9BEC1FC0AF79}"/>
              </a:ext>
            </a:extLst>
          </p:cNvPr>
          <p:cNvSpPr txBox="1"/>
          <p:nvPr/>
        </p:nvSpPr>
        <p:spPr>
          <a:xfrm>
            <a:off x="3048000" y="602061"/>
            <a:ext cx="609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/>
            <a:r>
              <a:rPr lang="en-US" sz="4400" b="1" dirty="0">
                <a:solidFill>
                  <a:srgbClr val="3A7897"/>
                </a:solidFill>
                <a:latin typeface="Arial (Headings)"/>
              </a:rPr>
              <a:t>Public Commenter</a:t>
            </a:r>
            <a:endParaRPr lang="en-US" sz="4400" b="1" dirty="0">
              <a:solidFill>
                <a:srgbClr val="3A7897"/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90BA17-9025-F1F7-BCC1-25D114B13883}"/>
              </a:ext>
            </a:extLst>
          </p:cNvPr>
          <p:cNvSpPr txBox="1"/>
          <p:nvPr/>
        </p:nvSpPr>
        <p:spPr>
          <a:xfrm>
            <a:off x="3763057" y="88126"/>
            <a:ext cx="46658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Arial (Headings)"/>
              </a:rPr>
              <a:t>OPEN PUBLIC COMMENTS</a:t>
            </a:r>
          </a:p>
        </p:txBody>
      </p:sp>
    </p:spTree>
    <p:extLst>
      <p:ext uri="{BB962C8B-B14F-4D97-AF65-F5344CB8AC3E}">
        <p14:creationId xmlns:p14="http://schemas.microsoft.com/office/powerpoint/2010/main" val="13282585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520CE-17C7-46B3-9020-0659342DF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1448" y="2834611"/>
            <a:ext cx="8509103" cy="926020"/>
          </a:xfrm>
        </p:spPr>
        <p:txBody>
          <a:bodyPr/>
          <a:lstStyle/>
          <a:p>
            <a:pPr algn="ctr"/>
            <a:r>
              <a:rPr lang="en-US" b="1" dirty="0">
                <a:latin typeface="Arial (Headings)"/>
              </a:rPr>
              <a:t>Gail Trauco, RN, BS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08A3E2-F170-49FF-8998-77909BEDB5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41448" y="3760631"/>
            <a:ext cx="8509103" cy="126913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b="1" dirty="0">
                <a:latin typeface="Arial (Headings)"/>
              </a:rPr>
              <a:t>CEO and Managing Member</a:t>
            </a:r>
          </a:p>
          <a:p>
            <a:pPr marL="0" indent="0" algn="ctr">
              <a:buNone/>
            </a:pPr>
            <a:r>
              <a:rPr lang="en-US" sz="2000" dirty="0">
                <a:latin typeface="Arial (Headings)"/>
              </a:rPr>
              <a:t>The </a:t>
            </a:r>
            <a:r>
              <a:rPr lang="en-US" sz="2000" dirty="0" err="1">
                <a:latin typeface="Arial (Headings)"/>
              </a:rPr>
              <a:t>PharmaKon</a:t>
            </a:r>
            <a:r>
              <a:rPr lang="en-US" sz="2000" dirty="0">
                <a:latin typeface="Arial (Headings)"/>
              </a:rPr>
              <a:t> LLC</a:t>
            </a:r>
          </a:p>
          <a:p>
            <a:pPr marL="0" indent="0" algn="ctr">
              <a:buNone/>
            </a:pPr>
            <a:endParaRPr lang="en-US" sz="2000" dirty="0">
              <a:solidFill>
                <a:schemeClr val="accent5"/>
              </a:solidFill>
              <a:latin typeface="+mj-lt"/>
            </a:endParaRPr>
          </a:p>
          <a:p>
            <a:pPr marL="0" indent="0" algn="ctr">
              <a:buNone/>
            </a:pPr>
            <a:endParaRPr lang="en-US" sz="2400" dirty="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22B3AA-CF6F-2E3D-763C-9BEC1FC0AF79}"/>
              </a:ext>
            </a:extLst>
          </p:cNvPr>
          <p:cNvSpPr txBox="1"/>
          <p:nvPr/>
        </p:nvSpPr>
        <p:spPr>
          <a:xfrm>
            <a:off x="3048000" y="602061"/>
            <a:ext cx="609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/>
            <a:r>
              <a:rPr lang="en-US" sz="4400" b="1" dirty="0">
                <a:solidFill>
                  <a:srgbClr val="3A7897"/>
                </a:solidFill>
                <a:latin typeface="Arial (Headings)"/>
              </a:rPr>
              <a:t>Public Commenter</a:t>
            </a:r>
            <a:endParaRPr lang="en-US" sz="4400" b="1" dirty="0">
              <a:solidFill>
                <a:srgbClr val="3A7897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EA12F5-A1D7-EDE8-E2C4-7E2631458E12}"/>
              </a:ext>
            </a:extLst>
          </p:cNvPr>
          <p:cNvSpPr txBox="1"/>
          <p:nvPr/>
        </p:nvSpPr>
        <p:spPr>
          <a:xfrm>
            <a:off x="3763057" y="88126"/>
            <a:ext cx="46658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Arial (Headings)"/>
              </a:rPr>
              <a:t>OPEN PUBLIC COMMENTS</a:t>
            </a:r>
          </a:p>
        </p:txBody>
      </p:sp>
    </p:spTree>
    <p:extLst>
      <p:ext uri="{BB962C8B-B14F-4D97-AF65-F5344CB8AC3E}">
        <p14:creationId xmlns:p14="http://schemas.microsoft.com/office/powerpoint/2010/main" val="16264425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DC759-C4FC-F7F0-1938-8ABCC5EAA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268448"/>
            <a:ext cx="8596668" cy="71306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Best Meeting Pract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6A5948-45F5-3037-7B1E-7BC3FE5C82F3}"/>
              </a:ext>
            </a:extLst>
          </p:cNvPr>
          <p:cNvSpPr>
            <a:spLocks/>
          </p:cNvSpPr>
          <p:nvPr/>
        </p:nvSpPr>
        <p:spPr>
          <a:xfrm>
            <a:off x="746620" y="1384181"/>
            <a:ext cx="4625130" cy="329687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5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et Clear Objective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repare an Agenda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Invite Relevant Participant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tart and End on Time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ncourage Active Participation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Limit Distraction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tay on Topic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Assign Action Items and Follow-Up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valuate and Continuously Improv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3B98EA-0633-0044-760C-24AB254EC203}"/>
              </a:ext>
            </a:extLst>
          </p:cNvPr>
          <p:cNvSpPr>
            <a:spLocks/>
          </p:cNvSpPr>
          <p:nvPr/>
        </p:nvSpPr>
        <p:spPr>
          <a:xfrm>
            <a:off x="6820250" y="1241571"/>
            <a:ext cx="3749878" cy="371826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reate an Inclusive Environment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ncourage Diverse Perspective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Active Listening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et Ground Rule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rovide Equal Opportunitie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Use Inclusive Facilitation Technique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Address Unconscious Bia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rovide Opportunities for Feedback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ducate and Raise Awareness</a:t>
            </a:r>
          </a:p>
          <a:p>
            <a:pPr marL="0" marR="0" lvl="0" indent="0" algn="l" defTabSz="315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Lead by Example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A2E9CF-2BD0-BDC1-691C-FA1F7EE495F2}"/>
              </a:ext>
            </a:extLst>
          </p:cNvPr>
          <p:cNvSpPr txBox="1"/>
          <p:nvPr/>
        </p:nvSpPr>
        <p:spPr>
          <a:xfrm>
            <a:off x="166256" y="5126181"/>
            <a:ext cx="381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Gail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Trauc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, RN, BS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Hometown Docs US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The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harmaKo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LLC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gtrauco@thepharmakon.com</a:t>
            </a:r>
          </a:p>
        </p:txBody>
      </p:sp>
      <p:pic>
        <p:nvPicPr>
          <p:cNvPr id="44" name="Picture 43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AB61AC3F-6E1B-9F6A-1606-1EC6764EC0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065" y="6346464"/>
            <a:ext cx="3810000" cy="511536"/>
          </a:xfrm>
          <a:prstGeom prst="rect">
            <a:avLst/>
          </a:prstGeom>
        </p:spPr>
      </p:pic>
      <p:pic>
        <p:nvPicPr>
          <p:cNvPr id="48" name="Picture 47" descr="A group of people putting their hands together&#10;&#10;Description automatically generated">
            <a:extLst>
              <a:ext uri="{FF2B5EF4-FFF2-40B4-BE49-F238E27FC236}">
                <a16:creationId xmlns:a16="http://schemas.microsoft.com/office/drawing/2014/main" id="{FE74DB9D-4712-B05A-7F3A-BC09DB8149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0250" y="4967945"/>
            <a:ext cx="3141973" cy="173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599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Tessera">
      <a:dk1>
        <a:srgbClr val="05031D"/>
      </a:dk1>
      <a:lt1>
        <a:srgbClr val="FFFFFF"/>
      </a:lt1>
      <a:dk2>
        <a:srgbClr val="05031D"/>
      </a:dk2>
      <a:lt2>
        <a:srgbClr val="FFFFFF"/>
      </a:lt2>
      <a:accent1>
        <a:srgbClr val="FF006D"/>
      </a:accent1>
      <a:accent2>
        <a:srgbClr val="8B92F9"/>
      </a:accent2>
      <a:accent3>
        <a:srgbClr val="2D27A6"/>
      </a:accent3>
      <a:accent4>
        <a:srgbClr val="6FCF97"/>
      </a:accent4>
      <a:accent5>
        <a:srgbClr val="F2C94C"/>
      </a:accent5>
      <a:accent6>
        <a:srgbClr val="EB5757"/>
      </a:accent6>
      <a:hlink>
        <a:srgbClr val="ECFCFF"/>
      </a:hlink>
      <a:folHlink>
        <a:srgbClr val="191534"/>
      </a:folHlink>
    </a:clrScheme>
    <a:fontScheme name="Tesse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191534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19153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V Powerpoint Template from v4 Small" id="{6CDF98C9-F7BF-4F6E-830A-D92AE8EAC33B}" vid="{5CCC5C2D-2BCF-4447-A4EB-A2F716A9339A}"/>
    </a:ext>
  </a:extLst>
</a:theme>
</file>

<file path=ppt/theme/theme3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420B4A532D7D448909C5CB32DF46A9" ma:contentTypeVersion="10" ma:contentTypeDescription="Create a new document." ma:contentTypeScope="" ma:versionID="46e6df36f44a494aea33a9c952fc2bf1">
  <xsd:schema xmlns:xsd="http://www.w3.org/2001/XMLSchema" xmlns:xs="http://www.w3.org/2001/XMLSchema" xmlns:p="http://schemas.microsoft.com/office/2006/metadata/properties" xmlns:ns2="af7d051d-d10d-4e6b-8c89-2794b9d3b466" xmlns:ns3="17fd2918-96a0-4d98-a0d4-247aed36e213" targetNamespace="http://schemas.microsoft.com/office/2006/metadata/properties" ma:root="true" ma:fieldsID="5c0438f2173c9d848c84d70c2d1cc0be" ns2:_="" ns3:_="">
    <xsd:import namespace="af7d051d-d10d-4e6b-8c89-2794b9d3b466"/>
    <xsd:import namespace="17fd2918-96a0-4d98-a0d4-247aed36e21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7d051d-d10d-4e6b-8c89-2794b9d3b4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fd2918-96a0-4d98-a0d4-247aed36e21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2F6EB9-58D2-4373-B4D1-ADC198FAC9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f7d051d-d10d-4e6b-8c89-2794b9d3b466"/>
    <ds:schemaRef ds:uri="17fd2918-96a0-4d98-a0d4-247aed36e2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7D7335A-4545-427D-8F5B-09DE68ED2B9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d2fdb41-339c-4257-87f2-a665730b31fc}" enabled="0" method="" siteId="{7d2fdb41-339c-4257-87f2-a665730b31f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9</TotalTime>
  <Words>526</Words>
  <Application>Microsoft Office PowerPoint</Application>
  <PresentationFormat>Widescreen</PresentationFormat>
  <Paragraphs>70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rial</vt:lpstr>
      <vt:lpstr>Arial (Headings)</vt:lpstr>
      <vt:lpstr>Calibri</vt:lpstr>
      <vt:lpstr>Calibri Light</vt:lpstr>
      <vt:lpstr>Roboto Condensed</vt:lpstr>
      <vt:lpstr>Symbol</vt:lpstr>
      <vt:lpstr>Trebuchet MS</vt:lpstr>
      <vt:lpstr>Wingdings</vt:lpstr>
      <vt:lpstr>Wingdings 3</vt:lpstr>
      <vt:lpstr>Office Theme</vt:lpstr>
      <vt:lpstr>1_Office Theme</vt:lpstr>
      <vt:lpstr>Facet</vt:lpstr>
      <vt:lpstr>think-cell Slide</vt:lpstr>
      <vt:lpstr>Anne-Virginie Eggimann, M. Sc.</vt:lpstr>
      <vt:lpstr>PowerPoint Presentation</vt:lpstr>
      <vt:lpstr>Marcia D. Howard, Ph.D., CAE</vt:lpstr>
      <vt:lpstr>Gail Trauco, RN, BSN</vt:lpstr>
      <vt:lpstr>Best Meeting Practi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ne-Virginie Eggimann, M. Sc.</dc:title>
  <dc:creator>Sese, Christopher *</dc:creator>
  <cp:lastModifiedBy>Villata, Danielle</cp:lastModifiedBy>
  <cp:revision>1</cp:revision>
  <dcterms:created xsi:type="dcterms:W3CDTF">2024-07-21T17:22:54Z</dcterms:created>
  <dcterms:modified xsi:type="dcterms:W3CDTF">2024-07-31T15:27:26Z</dcterms:modified>
</cp:coreProperties>
</file>